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diagrams/quickStyle1.xml" ContentType="application/vnd.openxmlformats-officedocument.drawingml.diagramStyle+xml"/>
  <Override PartName="/ppt/tags/tag5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tags/tag55.xml" ContentType="application/vnd.openxmlformats-officedocument.presentationml.tags+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gif" ContentType="image/gif"/>
  <Override PartName="/ppt/tags/tag44.xml" ContentType="application/vnd.openxmlformats-officedocument.presentationml.tags+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Lst>
  <p:notesMasterIdLst>
    <p:notesMasterId r:id="rId28"/>
  </p:notesMasterIdLst>
  <p:handoutMasterIdLst>
    <p:handoutMasterId r:id="rId29"/>
  </p:handoutMasterIdLst>
  <p:sldIdLst>
    <p:sldId id="311" r:id="rId7"/>
    <p:sldId id="340" r:id="rId8"/>
    <p:sldId id="419" r:id="rId9"/>
    <p:sldId id="349" r:id="rId10"/>
    <p:sldId id="398" r:id="rId11"/>
    <p:sldId id="351" r:id="rId12"/>
    <p:sldId id="420" r:id="rId13"/>
    <p:sldId id="421" r:id="rId14"/>
    <p:sldId id="417" r:id="rId15"/>
    <p:sldId id="418" r:id="rId16"/>
    <p:sldId id="405" r:id="rId17"/>
    <p:sldId id="407" r:id="rId18"/>
    <p:sldId id="409" r:id="rId19"/>
    <p:sldId id="411" r:id="rId20"/>
    <p:sldId id="410" r:id="rId21"/>
    <p:sldId id="412" r:id="rId22"/>
    <p:sldId id="408" r:id="rId23"/>
    <p:sldId id="415" r:id="rId24"/>
    <p:sldId id="416" r:id="rId25"/>
    <p:sldId id="365" r:id="rId26"/>
    <p:sldId id="343" r:id="rId27"/>
  </p:sldIdLst>
  <p:sldSz cx="9906000" cy="6858000" type="A4"/>
  <p:notesSz cx="6797675" cy="9874250"/>
  <p:custDataLst>
    <p:tags r:id="rId30"/>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942">
          <p15:clr>
            <a:srgbClr val="A4A3A4"/>
          </p15:clr>
        </p15:guide>
        <p15:guide id="2" orient="horz" pos="3951">
          <p15:clr>
            <a:srgbClr val="A4A3A4"/>
          </p15:clr>
        </p15:guide>
        <p15:guide id="3" orient="horz" pos="1938">
          <p15:clr>
            <a:srgbClr val="A4A3A4"/>
          </p15:clr>
        </p15:guide>
        <p15:guide id="4" orient="horz" pos="2682">
          <p15:clr>
            <a:srgbClr val="A4A3A4"/>
          </p15:clr>
        </p15:guide>
        <p15:guide id="5" pos="228">
          <p15:clr>
            <a:srgbClr val="A4A3A4"/>
          </p15:clr>
        </p15:guide>
        <p15:guide id="6" pos="6015">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DF2FF"/>
    <a:srgbClr val="FAFAFA"/>
    <a:srgbClr val="ACB7B2"/>
    <a:srgbClr val="A2BFAF"/>
    <a:srgbClr val="000000"/>
    <a:srgbClr val="AF1C63"/>
    <a:srgbClr val="6A9529"/>
    <a:srgbClr val="00A0D6"/>
    <a:srgbClr val="0085B3"/>
    <a:srgbClr val="005B7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4412" autoAdjust="0"/>
    <p:restoredTop sz="91219" autoAdjust="0"/>
  </p:normalViewPr>
  <p:slideViewPr>
    <p:cSldViewPr snapToGrid="0">
      <p:cViewPr varScale="1">
        <p:scale>
          <a:sx n="73" d="100"/>
          <a:sy n="73" d="100"/>
        </p:scale>
        <p:origin x="-828" y="-102"/>
      </p:cViewPr>
      <p:guideLst>
        <p:guide orient="horz" pos="942"/>
        <p:guide orient="horz" pos="3951"/>
        <p:guide orient="horz" pos="1938"/>
        <p:guide orient="horz" pos="2682"/>
        <p:guide pos="228"/>
        <p:guide pos="601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8" d="100"/>
          <a:sy n="48" d="100"/>
        </p:scale>
        <p:origin x="-2940" y="-120"/>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EBED4C-F4C7-4CA4-B88C-1E59B8F067FB}" type="doc">
      <dgm:prSet loTypeId="urn:microsoft.com/office/officeart/2005/8/layout/hProcess11" loCatId="process" qsTypeId="urn:microsoft.com/office/officeart/2005/8/quickstyle/simple1" qsCatId="simple" csTypeId="urn:microsoft.com/office/officeart/2005/8/colors/colorful5" csCatId="colorful" phldr="1"/>
      <dgm:spPr/>
    </dgm:pt>
    <dgm:pt modelId="{0E48BC3A-91C2-40EF-88F6-6E1D0F824FFD}">
      <dgm:prSet phldrT="[Text]"/>
      <dgm:spPr/>
      <dgm:t>
        <a:bodyPr/>
        <a:lstStyle/>
        <a:p>
          <a:r>
            <a:rPr lang="en-US" dirty="0" smtClean="0">
              <a:latin typeface="Calibri" pitchFamily="34" charset="0"/>
            </a:rPr>
            <a:t>Feasibility Study of PRIME Application for Automation</a:t>
          </a:r>
          <a:endParaRPr lang="en-US" dirty="0">
            <a:latin typeface="Calibri" pitchFamily="34" charset="0"/>
          </a:endParaRPr>
        </a:p>
      </dgm:t>
    </dgm:pt>
    <dgm:pt modelId="{9016156B-BE07-4D61-8C76-EB1B83AB160F}" type="parTrans" cxnId="{6BC0974A-4144-47C7-821D-A1E4CB7B9F97}">
      <dgm:prSet/>
      <dgm:spPr/>
      <dgm:t>
        <a:bodyPr/>
        <a:lstStyle/>
        <a:p>
          <a:endParaRPr lang="en-US"/>
        </a:p>
      </dgm:t>
    </dgm:pt>
    <dgm:pt modelId="{11F4425B-B448-4448-B4F3-109BDC36F573}" type="sibTrans" cxnId="{6BC0974A-4144-47C7-821D-A1E4CB7B9F97}">
      <dgm:prSet/>
      <dgm:spPr/>
      <dgm:t>
        <a:bodyPr/>
        <a:lstStyle/>
        <a:p>
          <a:endParaRPr lang="en-US"/>
        </a:p>
      </dgm:t>
    </dgm:pt>
    <dgm:pt modelId="{65F8D725-8A1F-4BF0-9B7B-A54004B73C69}">
      <dgm:prSet phldrT="[Text]"/>
      <dgm:spPr/>
      <dgm:t>
        <a:bodyPr/>
        <a:lstStyle/>
        <a:p>
          <a:r>
            <a:rPr lang="en-US" dirty="0" smtClean="0">
              <a:latin typeface="Calibri" pitchFamily="34" charset="0"/>
            </a:rPr>
            <a:t>Tool Identification and Framework Creation </a:t>
          </a:r>
          <a:endParaRPr lang="en-US" dirty="0">
            <a:latin typeface="Calibri" pitchFamily="34" charset="0"/>
          </a:endParaRPr>
        </a:p>
      </dgm:t>
    </dgm:pt>
    <dgm:pt modelId="{F817C440-A05F-4369-90C1-A7885C5AAD38}" type="parTrans" cxnId="{C76655D1-CA1D-4A5D-8EE6-748D85D56657}">
      <dgm:prSet/>
      <dgm:spPr/>
      <dgm:t>
        <a:bodyPr/>
        <a:lstStyle/>
        <a:p>
          <a:endParaRPr lang="en-US"/>
        </a:p>
      </dgm:t>
    </dgm:pt>
    <dgm:pt modelId="{C9B3B7FF-2462-448C-8A96-70979717B1F9}" type="sibTrans" cxnId="{C76655D1-CA1D-4A5D-8EE6-748D85D56657}">
      <dgm:prSet/>
      <dgm:spPr/>
      <dgm:t>
        <a:bodyPr/>
        <a:lstStyle/>
        <a:p>
          <a:endParaRPr lang="en-US"/>
        </a:p>
      </dgm:t>
    </dgm:pt>
    <dgm:pt modelId="{9B4A868A-B8EC-45F4-93BB-17AED7097591}">
      <dgm:prSet phldrT="[Text]"/>
      <dgm:spPr/>
      <dgm:t>
        <a:bodyPr/>
        <a:lstStyle/>
        <a:p>
          <a:r>
            <a:rPr lang="en-US" dirty="0" smtClean="0">
              <a:latin typeface="Calibri" pitchFamily="34" charset="0"/>
            </a:rPr>
            <a:t>Implement PRIME Application Automation </a:t>
          </a:r>
          <a:endParaRPr lang="en-US" dirty="0">
            <a:latin typeface="Calibri" pitchFamily="34" charset="0"/>
          </a:endParaRPr>
        </a:p>
      </dgm:t>
    </dgm:pt>
    <dgm:pt modelId="{8239D90F-343D-4419-BCF8-8B25EC113C70}" type="parTrans" cxnId="{D023C459-4A60-446D-AE75-51BF8FC5406D}">
      <dgm:prSet/>
      <dgm:spPr/>
      <dgm:t>
        <a:bodyPr/>
        <a:lstStyle/>
        <a:p>
          <a:endParaRPr lang="en-US"/>
        </a:p>
      </dgm:t>
    </dgm:pt>
    <dgm:pt modelId="{5689760B-6C49-4F84-98AC-F02038FB0557}" type="sibTrans" cxnId="{D023C459-4A60-446D-AE75-51BF8FC5406D}">
      <dgm:prSet/>
      <dgm:spPr/>
      <dgm:t>
        <a:bodyPr/>
        <a:lstStyle/>
        <a:p>
          <a:endParaRPr lang="en-US"/>
        </a:p>
      </dgm:t>
    </dgm:pt>
    <dgm:pt modelId="{A40259BD-FBF5-4443-B839-9D565E7100CF}">
      <dgm:prSet phldrT="[Text]"/>
      <dgm:spPr/>
      <dgm:t>
        <a:bodyPr/>
        <a:lstStyle/>
        <a:p>
          <a:r>
            <a:rPr lang="en-US" dirty="0" smtClean="0">
              <a:latin typeface="Calibri" pitchFamily="34" charset="0"/>
            </a:rPr>
            <a:t>Feasibility Study of SOA Automation need </a:t>
          </a:r>
          <a:endParaRPr lang="en-US" dirty="0">
            <a:latin typeface="Calibri" pitchFamily="34" charset="0"/>
          </a:endParaRPr>
        </a:p>
      </dgm:t>
    </dgm:pt>
    <dgm:pt modelId="{B1405EEC-9BDD-4195-A6D7-14375B022EE3}" type="parTrans" cxnId="{E1504C68-F5CC-4F68-9925-DC8C6B1D8BEC}">
      <dgm:prSet/>
      <dgm:spPr/>
      <dgm:t>
        <a:bodyPr/>
        <a:lstStyle/>
        <a:p>
          <a:endParaRPr lang="en-US"/>
        </a:p>
      </dgm:t>
    </dgm:pt>
    <dgm:pt modelId="{EBFC80D4-5238-4BF5-8528-4996E2436842}" type="sibTrans" cxnId="{E1504C68-F5CC-4F68-9925-DC8C6B1D8BEC}">
      <dgm:prSet/>
      <dgm:spPr/>
      <dgm:t>
        <a:bodyPr/>
        <a:lstStyle/>
        <a:p>
          <a:endParaRPr lang="en-US"/>
        </a:p>
      </dgm:t>
    </dgm:pt>
    <dgm:pt modelId="{50E28249-BFB6-43BE-90D2-94CD0BC7D08C}">
      <dgm:prSet phldrT="[Text]"/>
      <dgm:spPr/>
      <dgm:t>
        <a:bodyPr/>
        <a:lstStyle/>
        <a:p>
          <a:r>
            <a:rPr lang="en-US" dirty="0" smtClean="0">
              <a:latin typeface="Calibri" pitchFamily="34" charset="0"/>
            </a:rPr>
            <a:t>Design /Reuse Framework  for SOA Testing </a:t>
          </a:r>
          <a:endParaRPr lang="en-US" dirty="0">
            <a:latin typeface="Calibri" pitchFamily="34" charset="0"/>
          </a:endParaRPr>
        </a:p>
      </dgm:t>
    </dgm:pt>
    <dgm:pt modelId="{95774B7A-6F05-41E6-ABC2-F834E0B26417}" type="parTrans" cxnId="{75E5AE82-E022-45A6-9719-206E832B4ACD}">
      <dgm:prSet/>
      <dgm:spPr/>
      <dgm:t>
        <a:bodyPr/>
        <a:lstStyle/>
        <a:p>
          <a:endParaRPr lang="en-US"/>
        </a:p>
      </dgm:t>
    </dgm:pt>
    <dgm:pt modelId="{BD7094DF-AD77-4500-809A-E8C89713B3E6}" type="sibTrans" cxnId="{75E5AE82-E022-45A6-9719-206E832B4ACD}">
      <dgm:prSet/>
      <dgm:spPr/>
      <dgm:t>
        <a:bodyPr/>
        <a:lstStyle/>
        <a:p>
          <a:endParaRPr lang="en-US"/>
        </a:p>
      </dgm:t>
    </dgm:pt>
    <dgm:pt modelId="{C767C503-9D43-4C4E-A2E6-E0C62E69A726}">
      <dgm:prSet phldrT="[Text]"/>
      <dgm:spPr/>
      <dgm:t>
        <a:bodyPr/>
        <a:lstStyle/>
        <a:p>
          <a:r>
            <a:rPr lang="en-US" dirty="0" smtClean="0">
              <a:latin typeface="Calibri" pitchFamily="34" charset="0"/>
            </a:rPr>
            <a:t>Implement Automation for SOA Testing</a:t>
          </a:r>
          <a:endParaRPr lang="en-US" dirty="0">
            <a:latin typeface="Calibri" pitchFamily="34" charset="0"/>
          </a:endParaRPr>
        </a:p>
      </dgm:t>
    </dgm:pt>
    <dgm:pt modelId="{7E7477A1-7B4C-4A4C-98A9-668F165F466B}" type="parTrans" cxnId="{D1E7FCB9-2676-48A1-BA86-CFA90AADEF5E}">
      <dgm:prSet/>
      <dgm:spPr/>
      <dgm:t>
        <a:bodyPr/>
        <a:lstStyle/>
        <a:p>
          <a:endParaRPr lang="en-US"/>
        </a:p>
      </dgm:t>
    </dgm:pt>
    <dgm:pt modelId="{22B646BC-E71B-4946-8474-618DB719A34C}" type="sibTrans" cxnId="{D1E7FCB9-2676-48A1-BA86-CFA90AADEF5E}">
      <dgm:prSet/>
      <dgm:spPr/>
      <dgm:t>
        <a:bodyPr/>
        <a:lstStyle/>
        <a:p>
          <a:endParaRPr lang="en-US"/>
        </a:p>
      </dgm:t>
    </dgm:pt>
    <dgm:pt modelId="{2950A144-283C-4A57-A292-C0CB15FEA85E}">
      <dgm:prSet phldrT="[Text]"/>
      <dgm:spPr/>
      <dgm:t>
        <a:bodyPr/>
        <a:lstStyle/>
        <a:p>
          <a:r>
            <a:rPr lang="en-US" dirty="0" smtClean="0">
              <a:latin typeface="Calibri" pitchFamily="34" charset="0"/>
            </a:rPr>
            <a:t>Feasibility Study of Sales Force Application</a:t>
          </a:r>
          <a:endParaRPr lang="en-US" dirty="0">
            <a:latin typeface="Calibri" pitchFamily="34" charset="0"/>
          </a:endParaRPr>
        </a:p>
      </dgm:t>
    </dgm:pt>
    <dgm:pt modelId="{D954621B-118C-4E8D-AA48-2CD7EC17CA47}" type="parTrans" cxnId="{D152EBDB-2217-4286-89B3-323BBF9FCA37}">
      <dgm:prSet/>
      <dgm:spPr/>
      <dgm:t>
        <a:bodyPr/>
        <a:lstStyle/>
        <a:p>
          <a:endParaRPr lang="en-US"/>
        </a:p>
      </dgm:t>
    </dgm:pt>
    <dgm:pt modelId="{475443AB-2422-4F93-8920-A772B5B4E2EA}" type="sibTrans" cxnId="{D152EBDB-2217-4286-89B3-323BBF9FCA37}">
      <dgm:prSet/>
      <dgm:spPr/>
      <dgm:t>
        <a:bodyPr/>
        <a:lstStyle/>
        <a:p>
          <a:endParaRPr lang="en-US"/>
        </a:p>
      </dgm:t>
    </dgm:pt>
    <dgm:pt modelId="{723112DF-3F8B-415C-AAFB-02788EC5F4E6}">
      <dgm:prSet phldrT="[Text]"/>
      <dgm:spPr/>
      <dgm:t>
        <a:bodyPr/>
        <a:lstStyle/>
        <a:p>
          <a:r>
            <a:rPr lang="en-US" dirty="0" smtClean="0">
              <a:latin typeface="Calibri" pitchFamily="34" charset="0"/>
            </a:rPr>
            <a:t>Design /Reuse Framework  for Sales Force </a:t>
          </a:r>
          <a:endParaRPr lang="en-US" dirty="0">
            <a:latin typeface="Calibri" pitchFamily="34" charset="0"/>
          </a:endParaRPr>
        </a:p>
      </dgm:t>
    </dgm:pt>
    <dgm:pt modelId="{1D3D5708-9DE5-42D2-BF30-2A0A75FC03A7}" type="parTrans" cxnId="{E7FB4D6E-C24B-4B4A-A239-9BE62FF52923}">
      <dgm:prSet/>
      <dgm:spPr/>
      <dgm:t>
        <a:bodyPr/>
        <a:lstStyle/>
        <a:p>
          <a:endParaRPr lang="en-US"/>
        </a:p>
      </dgm:t>
    </dgm:pt>
    <dgm:pt modelId="{A34913B8-6B28-4FC1-B497-DB85F8BDC2AB}" type="sibTrans" cxnId="{E7FB4D6E-C24B-4B4A-A239-9BE62FF52923}">
      <dgm:prSet/>
      <dgm:spPr/>
      <dgm:t>
        <a:bodyPr/>
        <a:lstStyle/>
        <a:p>
          <a:endParaRPr lang="en-US"/>
        </a:p>
      </dgm:t>
    </dgm:pt>
    <dgm:pt modelId="{A0316C37-148A-4300-A568-77FE07C8842F}">
      <dgm:prSet phldrT="[Text]"/>
      <dgm:spPr/>
      <dgm:t>
        <a:bodyPr/>
        <a:lstStyle/>
        <a:p>
          <a:r>
            <a:rPr lang="en-US" dirty="0" smtClean="0">
              <a:latin typeface="Calibri" pitchFamily="34" charset="0"/>
            </a:rPr>
            <a:t>Implement Automation for Sales Force</a:t>
          </a:r>
          <a:endParaRPr lang="en-US" dirty="0">
            <a:latin typeface="Calibri" pitchFamily="34" charset="0"/>
          </a:endParaRPr>
        </a:p>
      </dgm:t>
    </dgm:pt>
    <dgm:pt modelId="{F5F2B9FC-E7A4-407E-9270-95FD28E4D61B}" type="parTrans" cxnId="{3A3ECB56-D2F0-40F1-BBF6-E00470FE8313}">
      <dgm:prSet/>
      <dgm:spPr/>
      <dgm:t>
        <a:bodyPr/>
        <a:lstStyle/>
        <a:p>
          <a:endParaRPr lang="en-US"/>
        </a:p>
      </dgm:t>
    </dgm:pt>
    <dgm:pt modelId="{7E189488-E979-4DCA-B21A-6535ED6A3956}" type="sibTrans" cxnId="{3A3ECB56-D2F0-40F1-BBF6-E00470FE8313}">
      <dgm:prSet/>
      <dgm:spPr/>
      <dgm:t>
        <a:bodyPr/>
        <a:lstStyle/>
        <a:p>
          <a:endParaRPr lang="en-US"/>
        </a:p>
      </dgm:t>
    </dgm:pt>
    <dgm:pt modelId="{6B4CA1DE-A059-4F19-8029-C12DA5E3C416}" type="pres">
      <dgm:prSet presAssocID="{92EBED4C-F4C7-4CA4-B88C-1E59B8F067FB}" presName="Name0" presStyleCnt="0">
        <dgm:presLayoutVars>
          <dgm:dir/>
          <dgm:resizeHandles val="exact"/>
        </dgm:presLayoutVars>
      </dgm:prSet>
      <dgm:spPr/>
    </dgm:pt>
    <dgm:pt modelId="{753BCB6C-8F75-44A5-B02A-85DCCFEA26D8}" type="pres">
      <dgm:prSet presAssocID="{92EBED4C-F4C7-4CA4-B88C-1E59B8F067FB}" presName="arrow" presStyleLbl="bgShp" presStyleIdx="0" presStyleCnt="1"/>
      <dgm:spPr/>
    </dgm:pt>
    <dgm:pt modelId="{55FF85CA-D878-4EE8-A361-F99EF67060C5}" type="pres">
      <dgm:prSet presAssocID="{92EBED4C-F4C7-4CA4-B88C-1E59B8F067FB}" presName="points" presStyleCnt="0"/>
      <dgm:spPr/>
    </dgm:pt>
    <dgm:pt modelId="{DB3EAFAA-7C33-494F-B7E6-B3572D24EB20}" type="pres">
      <dgm:prSet presAssocID="{0E48BC3A-91C2-40EF-88F6-6E1D0F824FFD}" presName="compositeA" presStyleCnt="0"/>
      <dgm:spPr/>
    </dgm:pt>
    <dgm:pt modelId="{4ACD1586-D655-4EA8-971B-C06CB290B439}" type="pres">
      <dgm:prSet presAssocID="{0E48BC3A-91C2-40EF-88F6-6E1D0F824FFD}" presName="textA" presStyleLbl="revTx" presStyleIdx="0" presStyleCnt="9">
        <dgm:presLayoutVars>
          <dgm:bulletEnabled val="1"/>
        </dgm:presLayoutVars>
      </dgm:prSet>
      <dgm:spPr/>
      <dgm:t>
        <a:bodyPr/>
        <a:lstStyle/>
        <a:p>
          <a:endParaRPr lang="en-US"/>
        </a:p>
      </dgm:t>
    </dgm:pt>
    <dgm:pt modelId="{C3653074-6CC1-4E3E-871C-92C1C94B31B2}" type="pres">
      <dgm:prSet presAssocID="{0E48BC3A-91C2-40EF-88F6-6E1D0F824FFD}" presName="circleA" presStyleLbl="node1" presStyleIdx="0" presStyleCnt="9"/>
      <dgm:spPr/>
    </dgm:pt>
    <dgm:pt modelId="{826A82FA-C111-4604-9F65-B3DFCEC52D56}" type="pres">
      <dgm:prSet presAssocID="{0E48BC3A-91C2-40EF-88F6-6E1D0F824FFD}" presName="spaceA" presStyleCnt="0"/>
      <dgm:spPr/>
    </dgm:pt>
    <dgm:pt modelId="{F58608F3-7081-4B82-A048-FC674CC25D15}" type="pres">
      <dgm:prSet presAssocID="{11F4425B-B448-4448-B4F3-109BDC36F573}" presName="space" presStyleCnt="0"/>
      <dgm:spPr/>
    </dgm:pt>
    <dgm:pt modelId="{6C7D2BA7-785B-478E-BF58-B62AE84BF1B9}" type="pres">
      <dgm:prSet presAssocID="{65F8D725-8A1F-4BF0-9B7B-A54004B73C69}" presName="compositeB" presStyleCnt="0"/>
      <dgm:spPr/>
    </dgm:pt>
    <dgm:pt modelId="{D09294E6-C0DF-4DA3-A780-7ECCBFBEBB6D}" type="pres">
      <dgm:prSet presAssocID="{65F8D725-8A1F-4BF0-9B7B-A54004B73C69}" presName="textB" presStyleLbl="revTx" presStyleIdx="1" presStyleCnt="9">
        <dgm:presLayoutVars>
          <dgm:bulletEnabled val="1"/>
        </dgm:presLayoutVars>
      </dgm:prSet>
      <dgm:spPr/>
      <dgm:t>
        <a:bodyPr/>
        <a:lstStyle/>
        <a:p>
          <a:endParaRPr lang="en-US"/>
        </a:p>
      </dgm:t>
    </dgm:pt>
    <dgm:pt modelId="{BBF02AED-42A3-45A3-8791-2179796F50C3}" type="pres">
      <dgm:prSet presAssocID="{65F8D725-8A1F-4BF0-9B7B-A54004B73C69}" presName="circleB" presStyleLbl="node1" presStyleIdx="1" presStyleCnt="9"/>
      <dgm:spPr/>
    </dgm:pt>
    <dgm:pt modelId="{4B6F806C-B13D-4AEA-B214-057DCF052B9D}" type="pres">
      <dgm:prSet presAssocID="{65F8D725-8A1F-4BF0-9B7B-A54004B73C69}" presName="spaceB" presStyleCnt="0"/>
      <dgm:spPr/>
    </dgm:pt>
    <dgm:pt modelId="{02C6E5CD-03A9-4478-800F-0B0DB6D89BD4}" type="pres">
      <dgm:prSet presAssocID="{C9B3B7FF-2462-448C-8A96-70979717B1F9}" presName="space" presStyleCnt="0"/>
      <dgm:spPr/>
    </dgm:pt>
    <dgm:pt modelId="{D7FE2747-DEED-4153-A8F7-1D44F33FD699}" type="pres">
      <dgm:prSet presAssocID="{9B4A868A-B8EC-45F4-93BB-17AED7097591}" presName="compositeA" presStyleCnt="0"/>
      <dgm:spPr/>
    </dgm:pt>
    <dgm:pt modelId="{05CA4617-D15C-4012-B0AF-6C912693BBD8}" type="pres">
      <dgm:prSet presAssocID="{9B4A868A-B8EC-45F4-93BB-17AED7097591}" presName="textA" presStyleLbl="revTx" presStyleIdx="2" presStyleCnt="9">
        <dgm:presLayoutVars>
          <dgm:bulletEnabled val="1"/>
        </dgm:presLayoutVars>
      </dgm:prSet>
      <dgm:spPr/>
      <dgm:t>
        <a:bodyPr/>
        <a:lstStyle/>
        <a:p>
          <a:endParaRPr lang="en-US"/>
        </a:p>
      </dgm:t>
    </dgm:pt>
    <dgm:pt modelId="{CBA1063F-9CC2-4BCA-9C4A-B46E6A7C68D1}" type="pres">
      <dgm:prSet presAssocID="{9B4A868A-B8EC-45F4-93BB-17AED7097591}" presName="circleA" presStyleLbl="node1" presStyleIdx="2" presStyleCnt="9"/>
      <dgm:spPr/>
    </dgm:pt>
    <dgm:pt modelId="{B60CFFBD-6C11-4550-A240-E28B28FAB9DA}" type="pres">
      <dgm:prSet presAssocID="{9B4A868A-B8EC-45F4-93BB-17AED7097591}" presName="spaceA" presStyleCnt="0"/>
      <dgm:spPr/>
    </dgm:pt>
    <dgm:pt modelId="{9515CCF6-3961-4B4F-9730-5BB75BDCFAC7}" type="pres">
      <dgm:prSet presAssocID="{5689760B-6C49-4F84-98AC-F02038FB0557}" presName="space" presStyleCnt="0"/>
      <dgm:spPr/>
    </dgm:pt>
    <dgm:pt modelId="{3E080E8B-C4AF-43CA-97B5-D07AF7C83FE5}" type="pres">
      <dgm:prSet presAssocID="{A40259BD-FBF5-4443-B839-9D565E7100CF}" presName="compositeB" presStyleCnt="0"/>
      <dgm:spPr/>
    </dgm:pt>
    <dgm:pt modelId="{7F834813-3640-4551-98F2-8F309D09FF6F}" type="pres">
      <dgm:prSet presAssocID="{A40259BD-FBF5-4443-B839-9D565E7100CF}" presName="textB" presStyleLbl="revTx" presStyleIdx="3" presStyleCnt="9">
        <dgm:presLayoutVars>
          <dgm:bulletEnabled val="1"/>
        </dgm:presLayoutVars>
      </dgm:prSet>
      <dgm:spPr/>
      <dgm:t>
        <a:bodyPr/>
        <a:lstStyle/>
        <a:p>
          <a:endParaRPr lang="en-US"/>
        </a:p>
      </dgm:t>
    </dgm:pt>
    <dgm:pt modelId="{653C3D18-4864-4772-A498-C3ECDA1B0C1F}" type="pres">
      <dgm:prSet presAssocID="{A40259BD-FBF5-4443-B839-9D565E7100CF}" presName="circleB" presStyleLbl="node1" presStyleIdx="3" presStyleCnt="9"/>
      <dgm:spPr/>
    </dgm:pt>
    <dgm:pt modelId="{011D7F0D-712C-4687-8388-88EE48CA6DC8}" type="pres">
      <dgm:prSet presAssocID="{A40259BD-FBF5-4443-B839-9D565E7100CF}" presName="spaceB" presStyleCnt="0"/>
      <dgm:spPr/>
    </dgm:pt>
    <dgm:pt modelId="{B10589DA-C4E0-4833-8767-68ABD6503D36}" type="pres">
      <dgm:prSet presAssocID="{EBFC80D4-5238-4BF5-8528-4996E2436842}" presName="space" presStyleCnt="0"/>
      <dgm:spPr/>
    </dgm:pt>
    <dgm:pt modelId="{04D44236-44CD-4823-AD6D-46859581C789}" type="pres">
      <dgm:prSet presAssocID="{50E28249-BFB6-43BE-90D2-94CD0BC7D08C}" presName="compositeA" presStyleCnt="0"/>
      <dgm:spPr/>
    </dgm:pt>
    <dgm:pt modelId="{436B5218-1428-4A75-850B-CE2033D77E28}" type="pres">
      <dgm:prSet presAssocID="{50E28249-BFB6-43BE-90D2-94CD0BC7D08C}" presName="textA" presStyleLbl="revTx" presStyleIdx="4" presStyleCnt="9">
        <dgm:presLayoutVars>
          <dgm:bulletEnabled val="1"/>
        </dgm:presLayoutVars>
      </dgm:prSet>
      <dgm:spPr/>
      <dgm:t>
        <a:bodyPr/>
        <a:lstStyle/>
        <a:p>
          <a:endParaRPr lang="en-US"/>
        </a:p>
      </dgm:t>
    </dgm:pt>
    <dgm:pt modelId="{BD6C663D-2E16-4CD7-9431-ADB1E1B23285}" type="pres">
      <dgm:prSet presAssocID="{50E28249-BFB6-43BE-90D2-94CD0BC7D08C}" presName="circleA" presStyleLbl="node1" presStyleIdx="4" presStyleCnt="9"/>
      <dgm:spPr/>
    </dgm:pt>
    <dgm:pt modelId="{49C9F148-F56C-4846-B06C-B7A7694FF9F1}" type="pres">
      <dgm:prSet presAssocID="{50E28249-BFB6-43BE-90D2-94CD0BC7D08C}" presName="spaceA" presStyleCnt="0"/>
      <dgm:spPr/>
    </dgm:pt>
    <dgm:pt modelId="{3B6B46EE-8AD6-410A-8D1D-193952760FCC}" type="pres">
      <dgm:prSet presAssocID="{BD7094DF-AD77-4500-809A-E8C89713B3E6}" presName="space" presStyleCnt="0"/>
      <dgm:spPr/>
    </dgm:pt>
    <dgm:pt modelId="{FEC232D3-17BB-41AB-8DF1-5CA93019F7F2}" type="pres">
      <dgm:prSet presAssocID="{C767C503-9D43-4C4E-A2E6-E0C62E69A726}" presName="compositeB" presStyleCnt="0"/>
      <dgm:spPr/>
    </dgm:pt>
    <dgm:pt modelId="{77FCBC8F-3404-43E2-A0B7-F1E0C8A804B8}" type="pres">
      <dgm:prSet presAssocID="{C767C503-9D43-4C4E-A2E6-E0C62E69A726}" presName="textB" presStyleLbl="revTx" presStyleIdx="5" presStyleCnt="9">
        <dgm:presLayoutVars>
          <dgm:bulletEnabled val="1"/>
        </dgm:presLayoutVars>
      </dgm:prSet>
      <dgm:spPr/>
      <dgm:t>
        <a:bodyPr/>
        <a:lstStyle/>
        <a:p>
          <a:endParaRPr lang="en-US"/>
        </a:p>
      </dgm:t>
    </dgm:pt>
    <dgm:pt modelId="{DFBD98B4-B72C-4B11-B85A-64283251F3F5}" type="pres">
      <dgm:prSet presAssocID="{C767C503-9D43-4C4E-A2E6-E0C62E69A726}" presName="circleB" presStyleLbl="node1" presStyleIdx="5" presStyleCnt="9"/>
      <dgm:spPr/>
    </dgm:pt>
    <dgm:pt modelId="{27F82BF8-F313-46F2-A972-B30DFE57104D}" type="pres">
      <dgm:prSet presAssocID="{C767C503-9D43-4C4E-A2E6-E0C62E69A726}" presName="spaceB" presStyleCnt="0"/>
      <dgm:spPr/>
    </dgm:pt>
    <dgm:pt modelId="{6D45B870-35FD-48D0-9A14-190EFC392A57}" type="pres">
      <dgm:prSet presAssocID="{22B646BC-E71B-4946-8474-618DB719A34C}" presName="space" presStyleCnt="0"/>
      <dgm:spPr/>
    </dgm:pt>
    <dgm:pt modelId="{BCB869D4-4F2A-4677-82BC-DD45DAE23CB2}" type="pres">
      <dgm:prSet presAssocID="{2950A144-283C-4A57-A292-C0CB15FEA85E}" presName="compositeA" presStyleCnt="0"/>
      <dgm:spPr/>
    </dgm:pt>
    <dgm:pt modelId="{2DFDA55B-B6D7-4311-9625-C18BA4C7B9A3}" type="pres">
      <dgm:prSet presAssocID="{2950A144-283C-4A57-A292-C0CB15FEA85E}" presName="textA" presStyleLbl="revTx" presStyleIdx="6" presStyleCnt="9">
        <dgm:presLayoutVars>
          <dgm:bulletEnabled val="1"/>
        </dgm:presLayoutVars>
      </dgm:prSet>
      <dgm:spPr/>
      <dgm:t>
        <a:bodyPr/>
        <a:lstStyle/>
        <a:p>
          <a:endParaRPr lang="en-US"/>
        </a:p>
      </dgm:t>
    </dgm:pt>
    <dgm:pt modelId="{4E4F98CC-F2C4-4BC1-A115-328B07C1BD21}" type="pres">
      <dgm:prSet presAssocID="{2950A144-283C-4A57-A292-C0CB15FEA85E}" presName="circleA" presStyleLbl="node1" presStyleIdx="6" presStyleCnt="9"/>
      <dgm:spPr/>
    </dgm:pt>
    <dgm:pt modelId="{6DA7E459-2122-42D5-A955-19F5EDF4ADF2}" type="pres">
      <dgm:prSet presAssocID="{2950A144-283C-4A57-A292-C0CB15FEA85E}" presName="spaceA" presStyleCnt="0"/>
      <dgm:spPr/>
    </dgm:pt>
    <dgm:pt modelId="{E85C20F5-4018-4D5C-8C38-7919E66A156F}" type="pres">
      <dgm:prSet presAssocID="{475443AB-2422-4F93-8920-A772B5B4E2EA}" presName="space" presStyleCnt="0"/>
      <dgm:spPr/>
    </dgm:pt>
    <dgm:pt modelId="{E04591A1-92CF-4C8C-B846-2F6D91FE0B21}" type="pres">
      <dgm:prSet presAssocID="{723112DF-3F8B-415C-AAFB-02788EC5F4E6}" presName="compositeB" presStyleCnt="0"/>
      <dgm:spPr/>
    </dgm:pt>
    <dgm:pt modelId="{CE420C2E-B02C-426A-A7BF-DD1B74A67373}" type="pres">
      <dgm:prSet presAssocID="{723112DF-3F8B-415C-AAFB-02788EC5F4E6}" presName="textB" presStyleLbl="revTx" presStyleIdx="7" presStyleCnt="9">
        <dgm:presLayoutVars>
          <dgm:bulletEnabled val="1"/>
        </dgm:presLayoutVars>
      </dgm:prSet>
      <dgm:spPr/>
      <dgm:t>
        <a:bodyPr/>
        <a:lstStyle/>
        <a:p>
          <a:endParaRPr lang="en-US"/>
        </a:p>
      </dgm:t>
    </dgm:pt>
    <dgm:pt modelId="{B087A559-6CB8-4532-9C24-8DDFDA23C529}" type="pres">
      <dgm:prSet presAssocID="{723112DF-3F8B-415C-AAFB-02788EC5F4E6}" presName="circleB" presStyleLbl="node1" presStyleIdx="7" presStyleCnt="9"/>
      <dgm:spPr/>
    </dgm:pt>
    <dgm:pt modelId="{8B013120-294E-47A3-9ABF-40F6BE985791}" type="pres">
      <dgm:prSet presAssocID="{723112DF-3F8B-415C-AAFB-02788EC5F4E6}" presName="spaceB" presStyleCnt="0"/>
      <dgm:spPr/>
    </dgm:pt>
    <dgm:pt modelId="{560CA009-8F5D-4440-8222-A42986FF2AD1}" type="pres">
      <dgm:prSet presAssocID="{A34913B8-6B28-4FC1-B497-DB85F8BDC2AB}" presName="space" presStyleCnt="0"/>
      <dgm:spPr/>
    </dgm:pt>
    <dgm:pt modelId="{321BC88C-D2EA-470D-A1DF-4169817702AC}" type="pres">
      <dgm:prSet presAssocID="{A0316C37-148A-4300-A568-77FE07C8842F}" presName="compositeA" presStyleCnt="0"/>
      <dgm:spPr/>
    </dgm:pt>
    <dgm:pt modelId="{694DC1D4-9D27-405A-92BC-3FDBD0C879F0}" type="pres">
      <dgm:prSet presAssocID="{A0316C37-148A-4300-A568-77FE07C8842F}" presName="textA" presStyleLbl="revTx" presStyleIdx="8" presStyleCnt="9">
        <dgm:presLayoutVars>
          <dgm:bulletEnabled val="1"/>
        </dgm:presLayoutVars>
      </dgm:prSet>
      <dgm:spPr/>
      <dgm:t>
        <a:bodyPr/>
        <a:lstStyle/>
        <a:p>
          <a:endParaRPr lang="en-US"/>
        </a:p>
      </dgm:t>
    </dgm:pt>
    <dgm:pt modelId="{4DF279D9-F9EF-4510-B34B-BCFD15C0E516}" type="pres">
      <dgm:prSet presAssocID="{A0316C37-148A-4300-A568-77FE07C8842F}" presName="circleA" presStyleLbl="node1" presStyleIdx="8" presStyleCnt="9"/>
      <dgm:spPr/>
    </dgm:pt>
    <dgm:pt modelId="{6834F1E9-386A-49A8-A956-8C95B901A583}" type="pres">
      <dgm:prSet presAssocID="{A0316C37-148A-4300-A568-77FE07C8842F}" presName="spaceA" presStyleCnt="0"/>
      <dgm:spPr/>
    </dgm:pt>
  </dgm:ptLst>
  <dgm:cxnLst>
    <dgm:cxn modelId="{1D9A9A2A-AD92-4D71-B426-AF176A034479}" type="presOf" srcId="{A40259BD-FBF5-4443-B839-9D565E7100CF}" destId="{7F834813-3640-4551-98F2-8F309D09FF6F}" srcOrd="0" destOrd="0" presId="urn:microsoft.com/office/officeart/2005/8/layout/hProcess11"/>
    <dgm:cxn modelId="{75E5AE82-E022-45A6-9719-206E832B4ACD}" srcId="{92EBED4C-F4C7-4CA4-B88C-1E59B8F067FB}" destId="{50E28249-BFB6-43BE-90D2-94CD0BC7D08C}" srcOrd="4" destOrd="0" parTransId="{95774B7A-6F05-41E6-ABC2-F834E0B26417}" sibTransId="{BD7094DF-AD77-4500-809A-E8C89713B3E6}"/>
    <dgm:cxn modelId="{C15E5F50-AF0D-44A2-AB64-86740DC88B13}" type="presOf" srcId="{723112DF-3F8B-415C-AAFB-02788EC5F4E6}" destId="{CE420C2E-B02C-426A-A7BF-DD1B74A67373}" srcOrd="0" destOrd="0" presId="urn:microsoft.com/office/officeart/2005/8/layout/hProcess11"/>
    <dgm:cxn modelId="{15C27250-0B4C-4013-BFC6-DCB33519CE02}" type="presOf" srcId="{65F8D725-8A1F-4BF0-9B7B-A54004B73C69}" destId="{D09294E6-C0DF-4DA3-A780-7ECCBFBEBB6D}" srcOrd="0" destOrd="0" presId="urn:microsoft.com/office/officeart/2005/8/layout/hProcess11"/>
    <dgm:cxn modelId="{E1504C68-F5CC-4F68-9925-DC8C6B1D8BEC}" srcId="{92EBED4C-F4C7-4CA4-B88C-1E59B8F067FB}" destId="{A40259BD-FBF5-4443-B839-9D565E7100CF}" srcOrd="3" destOrd="0" parTransId="{B1405EEC-9BDD-4195-A6D7-14375B022EE3}" sibTransId="{EBFC80D4-5238-4BF5-8528-4996E2436842}"/>
    <dgm:cxn modelId="{D023C459-4A60-446D-AE75-51BF8FC5406D}" srcId="{92EBED4C-F4C7-4CA4-B88C-1E59B8F067FB}" destId="{9B4A868A-B8EC-45F4-93BB-17AED7097591}" srcOrd="2" destOrd="0" parTransId="{8239D90F-343D-4419-BCF8-8B25EC113C70}" sibTransId="{5689760B-6C49-4F84-98AC-F02038FB0557}"/>
    <dgm:cxn modelId="{A372E47C-825F-49D1-9165-89E868223102}" type="presOf" srcId="{92EBED4C-F4C7-4CA4-B88C-1E59B8F067FB}" destId="{6B4CA1DE-A059-4F19-8029-C12DA5E3C416}" srcOrd="0" destOrd="0" presId="urn:microsoft.com/office/officeart/2005/8/layout/hProcess11"/>
    <dgm:cxn modelId="{D1E7FCB9-2676-48A1-BA86-CFA90AADEF5E}" srcId="{92EBED4C-F4C7-4CA4-B88C-1E59B8F067FB}" destId="{C767C503-9D43-4C4E-A2E6-E0C62E69A726}" srcOrd="5" destOrd="0" parTransId="{7E7477A1-7B4C-4A4C-98A9-668F165F466B}" sibTransId="{22B646BC-E71B-4946-8474-618DB719A34C}"/>
    <dgm:cxn modelId="{631C0C62-D6AA-4D4A-898E-1A0E54F79C48}" type="presOf" srcId="{9B4A868A-B8EC-45F4-93BB-17AED7097591}" destId="{05CA4617-D15C-4012-B0AF-6C912693BBD8}" srcOrd="0" destOrd="0" presId="urn:microsoft.com/office/officeart/2005/8/layout/hProcess11"/>
    <dgm:cxn modelId="{4422EBD7-7105-4A92-8020-F8D94B7D1C27}" type="presOf" srcId="{C767C503-9D43-4C4E-A2E6-E0C62E69A726}" destId="{77FCBC8F-3404-43E2-A0B7-F1E0C8A804B8}" srcOrd="0" destOrd="0" presId="urn:microsoft.com/office/officeart/2005/8/layout/hProcess11"/>
    <dgm:cxn modelId="{F1ACAA71-FD96-4353-A334-C2F9E0A9A8DF}" type="presOf" srcId="{50E28249-BFB6-43BE-90D2-94CD0BC7D08C}" destId="{436B5218-1428-4A75-850B-CE2033D77E28}" srcOrd="0" destOrd="0" presId="urn:microsoft.com/office/officeart/2005/8/layout/hProcess11"/>
    <dgm:cxn modelId="{94136D3D-6F60-4E1F-9E88-769EB17D407C}" type="presOf" srcId="{A0316C37-148A-4300-A568-77FE07C8842F}" destId="{694DC1D4-9D27-405A-92BC-3FDBD0C879F0}" srcOrd="0" destOrd="0" presId="urn:microsoft.com/office/officeart/2005/8/layout/hProcess11"/>
    <dgm:cxn modelId="{6BC0974A-4144-47C7-821D-A1E4CB7B9F97}" srcId="{92EBED4C-F4C7-4CA4-B88C-1E59B8F067FB}" destId="{0E48BC3A-91C2-40EF-88F6-6E1D0F824FFD}" srcOrd="0" destOrd="0" parTransId="{9016156B-BE07-4D61-8C76-EB1B83AB160F}" sibTransId="{11F4425B-B448-4448-B4F3-109BDC36F573}"/>
    <dgm:cxn modelId="{A3A0B23B-BEC7-4396-BEF7-264C19B6CF65}" type="presOf" srcId="{0E48BC3A-91C2-40EF-88F6-6E1D0F824FFD}" destId="{4ACD1586-D655-4EA8-971B-C06CB290B439}" srcOrd="0" destOrd="0" presId="urn:microsoft.com/office/officeart/2005/8/layout/hProcess11"/>
    <dgm:cxn modelId="{C76655D1-CA1D-4A5D-8EE6-748D85D56657}" srcId="{92EBED4C-F4C7-4CA4-B88C-1E59B8F067FB}" destId="{65F8D725-8A1F-4BF0-9B7B-A54004B73C69}" srcOrd="1" destOrd="0" parTransId="{F817C440-A05F-4369-90C1-A7885C5AAD38}" sibTransId="{C9B3B7FF-2462-448C-8A96-70979717B1F9}"/>
    <dgm:cxn modelId="{4B106993-0394-40C9-AA93-D1440AA9C8F0}" type="presOf" srcId="{2950A144-283C-4A57-A292-C0CB15FEA85E}" destId="{2DFDA55B-B6D7-4311-9625-C18BA4C7B9A3}" srcOrd="0" destOrd="0" presId="urn:microsoft.com/office/officeart/2005/8/layout/hProcess11"/>
    <dgm:cxn modelId="{3A3ECB56-D2F0-40F1-BBF6-E00470FE8313}" srcId="{92EBED4C-F4C7-4CA4-B88C-1E59B8F067FB}" destId="{A0316C37-148A-4300-A568-77FE07C8842F}" srcOrd="8" destOrd="0" parTransId="{F5F2B9FC-E7A4-407E-9270-95FD28E4D61B}" sibTransId="{7E189488-E979-4DCA-B21A-6535ED6A3956}"/>
    <dgm:cxn modelId="{E7FB4D6E-C24B-4B4A-A239-9BE62FF52923}" srcId="{92EBED4C-F4C7-4CA4-B88C-1E59B8F067FB}" destId="{723112DF-3F8B-415C-AAFB-02788EC5F4E6}" srcOrd="7" destOrd="0" parTransId="{1D3D5708-9DE5-42D2-BF30-2A0A75FC03A7}" sibTransId="{A34913B8-6B28-4FC1-B497-DB85F8BDC2AB}"/>
    <dgm:cxn modelId="{D152EBDB-2217-4286-89B3-323BBF9FCA37}" srcId="{92EBED4C-F4C7-4CA4-B88C-1E59B8F067FB}" destId="{2950A144-283C-4A57-A292-C0CB15FEA85E}" srcOrd="6" destOrd="0" parTransId="{D954621B-118C-4E8D-AA48-2CD7EC17CA47}" sibTransId="{475443AB-2422-4F93-8920-A772B5B4E2EA}"/>
    <dgm:cxn modelId="{BEC97786-B260-4894-980B-0520A5052746}" type="presParOf" srcId="{6B4CA1DE-A059-4F19-8029-C12DA5E3C416}" destId="{753BCB6C-8F75-44A5-B02A-85DCCFEA26D8}" srcOrd="0" destOrd="0" presId="urn:microsoft.com/office/officeart/2005/8/layout/hProcess11"/>
    <dgm:cxn modelId="{5D47FB5F-97FA-4595-9A3D-E7699CA59D07}" type="presParOf" srcId="{6B4CA1DE-A059-4F19-8029-C12DA5E3C416}" destId="{55FF85CA-D878-4EE8-A361-F99EF67060C5}" srcOrd="1" destOrd="0" presId="urn:microsoft.com/office/officeart/2005/8/layout/hProcess11"/>
    <dgm:cxn modelId="{2FCDA79C-B598-4D28-AA85-AF4AE689B6F1}" type="presParOf" srcId="{55FF85CA-D878-4EE8-A361-F99EF67060C5}" destId="{DB3EAFAA-7C33-494F-B7E6-B3572D24EB20}" srcOrd="0" destOrd="0" presId="urn:microsoft.com/office/officeart/2005/8/layout/hProcess11"/>
    <dgm:cxn modelId="{E36C2BF5-AD8A-4375-A592-381193F4E7C9}" type="presParOf" srcId="{DB3EAFAA-7C33-494F-B7E6-B3572D24EB20}" destId="{4ACD1586-D655-4EA8-971B-C06CB290B439}" srcOrd="0" destOrd="0" presId="urn:microsoft.com/office/officeart/2005/8/layout/hProcess11"/>
    <dgm:cxn modelId="{EEA17611-177D-4FA7-BD75-2A9EB70C2E64}" type="presParOf" srcId="{DB3EAFAA-7C33-494F-B7E6-B3572D24EB20}" destId="{C3653074-6CC1-4E3E-871C-92C1C94B31B2}" srcOrd="1" destOrd="0" presId="urn:microsoft.com/office/officeart/2005/8/layout/hProcess11"/>
    <dgm:cxn modelId="{4A7E790D-728A-484F-A8AF-CBA75B202760}" type="presParOf" srcId="{DB3EAFAA-7C33-494F-B7E6-B3572D24EB20}" destId="{826A82FA-C111-4604-9F65-B3DFCEC52D56}" srcOrd="2" destOrd="0" presId="urn:microsoft.com/office/officeart/2005/8/layout/hProcess11"/>
    <dgm:cxn modelId="{B40EB08F-5A01-42B3-8D6F-AA0F430DDD99}" type="presParOf" srcId="{55FF85CA-D878-4EE8-A361-F99EF67060C5}" destId="{F58608F3-7081-4B82-A048-FC674CC25D15}" srcOrd="1" destOrd="0" presId="urn:microsoft.com/office/officeart/2005/8/layout/hProcess11"/>
    <dgm:cxn modelId="{17CE1F17-B593-46C6-8197-A6563B924473}" type="presParOf" srcId="{55FF85CA-D878-4EE8-A361-F99EF67060C5}" destId="{6C7D2BA7-785B-478E-BF58-B62AE84BF1B9}" srcOrd="2" destOrd="0" presId="urn:microsoft.com/office/officeart/2005/8/layout/hProcess11"/>
    <dgm:cxn modelId="{A2F3C44E-F1B9-4B19-8873-7359E8DCC998}" type="presParOf" srcId="{6C7D2BA7-785B-478E-BF58-B62AE84BF1B9}" destId="{D09294E6-C0DF-4DA3-A780-7ECCBFBEBB6D}" srcOrd="0" destOrd="0" presId="urn:microsoft.com/office/officeart/2005/8/layout/hProcess11"/>
    <dgm:cxn modelId="{C8D368DD-811E-4EBF-82D0-5020675EF485}" type="presParOf" srcId="{6C7D2BA7-785B-478E-BF58-B62AE84BF1B9}" destId="{BBF02AED-42A3-45A3-8791-2179796F50C3}" srcOrd="1" destOrd="0" presId="urn:microsoft.com/office/officeart/2005/8/layout/hProcess11"/>
    <dgm:cxn modelId="{63183D35-EECE-4CDD-BC02-25B2A16345D8}" type="presParOf" srcId="{6C7D2BA7-785B-478E-BF58-B62AE84BF1B9}" destId="{4B6F806C-B13D-4AEA-B214-057DCF052B9D}" srcOrd="2" destOrd="0" presId="urn:microsoft.com/office/officeart/2005/8/layout/hProcess11"/>
    <dgm:cxn modelId="{997ADFAE-CE25-4DBA-B907-4D93DAD61754}" type="presParOf" srcId="{55FF85CA-D878-4EE8-A361-F99EF67060C5}" destId="{02C6E5CD-03A9-4478-800F-0B0DB6D89BD4}" srcOrd="3" destOrd="0" presId="urn:microsoft.com/office/officeart/2005/8/layout/hProcess11"/>
    <dgm:cxn modelId="{4080F2C8-2762-4001-ADC2-582DD359F120}" type="presParOf" srcId="{55FF85CA-D878-4EE8-A361-F99EF67060C5}" destId="{D7FE2747-DEED-4153-A8F7-1D44F33FD699}" srcOrd="4" destOrd="0" presId="urn:microsoft.com/office/officeart/2005/8/layout/hProcess11"/>
    <dgm:cxn modelId="{5099F079-6DD1-4F73-BDBA-88EE5EDBFE44}" type="presParOf" srcId="{D7FE2747-DEED-4153-A8F7-1D44F33FD699}" destId="{05CA4617-D15C-4012-B0AF-6C912693BBD8}" srcOrd="0" destOrd="0" presId="urn:microsoft.com/office/officeart/2005/8/layout/hProcess11"/>
    <dgm:cxn modelId="{BD523403-EA45-4B73-A5B8-E26F191F6CE3}" type="presParOf" srcId="{D7FE2747-DEED-4153-A8F7-1D44F33FD699}" destId="{CBA1063F-9CC2-4BCA-9C4A-B46E6A7C68D1}" srcOrd="1" destOrd="0" presId="urn:microsoft.com/office/officeart/2005/8/layout/hProcess11"/>
    <dgm:cxn modelId="{A7B602C6-7B10-429F-B368-261E7B34F473}" type="presParOf" srcId="{D7FE2747-DEED-4153-A8F7-1D44F33FD699}" destId="{B60CFFBD-6C11-4550-A240-E28B28FAB9DA}" srcOrd="2" destOrd="0" presId="urn:microsoft.com/office/officeart/2005/8/layout/hProcess11"/>
    <dgm:cxn modelId="{B2B53112-E0A0-46C6-B1EE-CAB3C20749E7}" type="presParOf" srcId="{55FF85CA-D878-4EE8-A361-F99EF67060C5}" destId="{9515CCF6-3961-4B4F-9730-5BB75BDCFAC7}" srcOrd="5" destOrd="0" presId="urn:microsoft.com/office/officeart/2005/8/layout/hProcess11"/>
    <dgm:cxn modelId="{4544A6C2-2B3F-44C5-89E7-D540E3E57C7F}" type="presParOf" srcId="{55FF85CA-D878-4EE8-A361-F99EF67060C5}" destId="{3E080E8B-C4AF-43CA-97B5-D07AF7C83FE5}" srcOrd="6" destOrd="0" presId="urn:microsoft.com/office/officeart/2005/8/layout/hProcess11"/>
    <dgm:cxn modelId="{FC611F48-90EF-4D57-8C58-44A61C9696BD}" type="presParOf" srcId="{3E080E8B-C4AF-43CA-97B5-D07AF7C83FE5}" destId="{7F834813-3640-4551-98F2-8F309D09FF6F}" srcOrd="0" destOrd="0" presId="urn:microsoft.com/office/officeart/2005/8/layout/hProcess11"/>
    <dgm:cxn modelId="{3A75F8F6-9801-461A-98C2-67B5C82DFBE6}" type="presParOf" srcId="{3E080E8B-C4AF-43CA-97B5-D07AF7C83FE5}" destId="{653C3D18-4864-4772-A498-C3ECDA1B0C1F}" srcOrd="1" destOrd="0" presId="urn:microsoft.com/office/officeart/2005/8/layout/hProcess11"/>
    <dgm:cxn modelId="{FCD69B4C-3C8D-41CB-BDD7-5A5ED64AE52A}" type="presParOf" srcId="{3E080E8B-C4AF-43CA-97B5-D07AF7C83FE5}" destId="{011D7F0D-712C-4687-8388-88EE48CA6DC8}" srcOrd="2" destOrd="0" presId="urn:microsoft.com/office/officeart/2005/8/layout/hProcess11"/>
    <dgm:cxn modelId="{4FD5C7D7-37F5-4404-8DFB-7D2CF4765D32}" type="presParOf" srcId="{55FF85CA-D878-4EE8-A361-F99EF67060C5}" destId="{B10589DA-C4E0-4833-8767-68ABD6503D36}" srcOrd="7" destOrd="0" presId="urn:microsoft.com/office/officeart/2005/8/layout/hProcess11"/>
    <dgm:cxn modelId="{89946395-77FB-4224-8C4F-D0383C91048D}" type="presParOf" srcId="{55FF85CA-D878-4EE8-A361-F99EF67060C5}" destId="{04D44236-44CD-4823-AD6D-46859581C789}" srcOrd="8" destOrd="0" presId="urn:microsoft.com/office/officeart/2005/8/layout/hProcess11"/>
    <dgm:cxn modelId="{3B4ABD34-03F5-42E4-A34E-2B40C227E69A}" type="presParOf" srcId="{04D44236-44CD-4823-AD6D-46859581C789}" destId="{436B5218-1428-4A75-850B-CE2033D77E28}" srcOrd="0" destOrd="0" presId="urn:microsoft.com/office/officeart/2005/8/layout/hProcess11"/>
    <dgm:cxn modelId="{11E73ACE-4D44-4507-9A52-F26EF4F802E3}" type="presParOf" srcId="{04D44236-44CD-4823-AD6D-46859581C789}" destId="{BD6C663D-2E16-4CD7-9431-ADB1E1B23285}" srcOrd="1" destOrd="0" presId="urn:microsoft.com/office/officeart/2005/8/layout/hProcess11"/>
    <dgm:cxn modelId="{402A8027-DAF5-4DB7-B635-7C03576FE0CA}" type="presParOf" srcId="{04D44236-44CD-4823-AD6D-46859581C789}" destId="{49C9F148-F56C-4846-B06C-B7A7694FF9F1}" srcOrd="2" destOrd="0" presId="urn:microsoft.com/office/officeart/2005/8/layout/hProcess11"/>
    <dgm:cxn modelId="{1379D2C7-33A5-4B38-B4AF-897D7D6DCEAD}" type="presParOf" srcId="{55FF85CA-D878-4EE8-A361-F99EF67060C5}" destId="{3B6B46EE-8AD6-410A-8D1D-193952760FCC}" srcOrd="9" destOrd="0" presId="urn:microsoft.com/office/officeart/2005/8/layout/hProcess11"/>
    <dgm:cxn modelId="{685B9E05-8703-43F7-935D-A3DD19AEBFE7}" type="presParOf" srcId="{55FF85CA-D878-4EE8-A361-F99EF67060C5}" destId="{FEC232D3-17BB-41AB-8DF1-5CA93019F7F2}" srcOrd="10" destOrd="0" presId="urn:microsoft.com/office/officeart/2005/8/layout/hProcess11"/>
    <dgm:cxn modelId="{64699656-F0BA-4D30-BC9F-D814E4B44271}" type="presParOf" srcId="{FEC232D3-17BB-41AB-8DF1-5CA93019F7F2}" destId="{77FCBC8F-3404-43E2-A0B7-F1E0C8A804B8}" srcOrd="0" destOrd="0" presId="urn:microsoft.com/office/officeart/2005/8/layout/hProcess11"/>
    <dgm:cxn modelId="{63ED4D8C-FE19-40D6-B2E0-93B39FF5C8D4}" type="presParOf" srcId="{FEC232D3-17BB-41AB-8DF1-5CA93019F7F2}" destId="{DFBD98B4-B72C-4B11-B85A-64283251F3F5}" srcOrd="1" destOrd="0" presId="urn:microsoft.com/office/officeart/2005/8/layout/hProcess11"/>
    <dgm:cxn modelId="{9BE8CF21-6DEB-46F5-AC5E-219A3BF0AE15}" type="presParOf" srcId="{FEC232D3-17BB-41AB-8DF1-5CA93019F7F2}" destId="{27F82BF8-F313-46F2-A972-B30DFE57104D}" srcOrd="2" destOrd="0" presId="urn:microsoft.com/office/officeart/2005/8/layout/hProcess11"/>
    <dgm:cxn modelId="{F5B43891-F852-4E48-86C9-29DEE9736C16}" type="presParOf" srcId="{55FF85CA-D878-4EE8-A361-F99EF67060C5}" destId="{6D45B870-35FD-48D0-9A14-190EFC392A57}" srcOrd="11" destOrd="0" presId="urn:microsoft.com/office/officeart/2005/8/layout/hProcess11"/>
    <dgm:cxn modelId="{8C948C7D-F8A7-4DE3-9C41-564CBD2F9F52}" type="presParOf" srcId="{55FF85CA-D878-4EE8-A361-F99EF67060C5}" destId="{BCB869D4-4F2A-4677-82BC-DD45DAE23CB2}" srcOrd="12" destOrd="0" presId="urn:microsoft.com/office/officeart/2005/8/layout/hProcess11"/>
    <dgm:cxn modelId="{B9D10D23-A0BF-4977-87D1-FB160451EF45}" type="presParOf" srcId="{BCB869D4-4F2A-4677-82BC-DD45DAE23CB2}" destId="{2DFDA55B-B6D7-4311-9625-C18BA4C7B9A3}" srcOrd="0" destOrd="0" presId="urn:microsoft.com/office/officeart/2005/8/layout/hProcess11"/>
    <dgm:cxn modelId="{B4C64647-74D1-48BD-B01A-FE1DAE02BF29}" type="presParOf" srcId="{BCB869D4-4F2A-4677-82BC-DD45DAE23CB2}" destId="{4E4F98CC-F2C4-4BC1-A115-328B07C1BD21}" srcOrd="1" destOrd="0" presId="urn:microsoft.com/office/officeart/2005/8/layout/hProcess11"/>
    <dgm:cxn modelId="{96ED9D43-A367-4B64-8A74-CA1993227F4E}" type="presParOf" srcId="{BCB869D4-4F2A-4677-82BC-DD45DAE23CB2}" destId="{6DA7E459-2122-42D5-A955-19F5EDF4ADF2}" srcOrd="2" destOrd="0" presId="urn:microsoft.com/office/officeart/2005/8/layout/hProcess11"/>
    <dgm:cxn modelId="{8CDF5F3D-D193-4E30-9F74-98DB5027EC0D}" type="presParOf" srcId="{55FF85CA-D878-4EE8-A361-F99EF67060C5}" destId="{E85C20F5-4018-4D5C-8C38-7919E66A156F}" srcOrd="13" destOrd="0" presId="urn:microsoft.com/office/officeart/2005/8/layout/hProcess11"/>
    <dgm:cxn modelId="{0D04B95C-7020-4D71-BB5D-AD5AE5A880FF}" type="presParOf" srcId="{55FF85CA-D878-4EE8-A361-F99EF67060C5}" destId="{E04591A1-92CF-4C8C-B846-2F6D91FE0B21}" srcOrd="14" destOrd="0" presId="urn:microsoft.com/office/officeart/2005/8/layout/hProcess11"/>
    <dgm:cxn modelId="{43735DEF-AFFB-4F2C-8ACC-68F9620E237F}" type="presParOf" srcId="{E04591A1-92CF-4C8C-B846-2F6D91FE0B21}" destId="{CE420C2E-B02C-426A-A7BF-DD1B74A67373}" srcOrd="0" destOrd="0" presId="urn:microsoft.com/office/officeart/2005/8/layout/hProcess11"/>
    <dgm:cxn modelId="{679C3CC2-FC80-4492-8257-3394B8A45F81}" type="presParOf" srcId="{E04591A1-92CF-4C8C-B846-2F6D91FE0B21}" destId="{B087A559-6CB8-4532-9C24-8DDFDA23C529}" srcOrd="1" destOrd="0" presId="urn:microsoft.com/office/officeart/2005/8/layout/hProcess11"/>
    <dgm:cxn modelId="{B3E0D0D5-E420-4611-B67F-5FB7BD1C942B}" type="presParOf" srcId="{E04591A1-92CF-4C8C-B846-2F6D91FE0B21}" destId="{8B013120-294E-47A3-9ABF-40F6BE985791}" srcOrd="2" destOrd="0" presId="urn:microsoft.com/office/officeart/2005/8/layout/hProcess11"/>
    <dgm:cxn modelId="{11F555CC-FB46-40E6-B969-8A97C2260770}" type="presParOf" srcId="{55FF85CA-D878-4EE8-A361-F99EF67060C5}" destId="{560CA009-8F5D-4440-8222-A42986FF2AD1}" srcOrd="15" destOrd="0" presId="urn:microsoft.com/office/officeart/2005/8/layout/hProcess11"/>
    <dgm:cxn modelId="{2C860484-ADC8-45D2-B000-1064110AB0A9}" type="presParOf" srcId="{55FF85CA-D878-4EE8-A361-F99EF67060C5}" destId="{321BC88C-D2EA-470D-A1DF-4169817702AC}" srcOrd="16" destOrd="0" presId="urn:microsoft.com/office/officeart/2005/8/layout/hProcess11"/>
    <dgm:cxn modelId="{1DBDFC75-1C57-4F62-880C-CCD542ADB9BC}" type="presParOf" srcId="{321BC88C-D2EA-470D-A1DF-4169817702AC}" destId="{694DC1D4-9D27-405A-92BC-3FDBD0C879F0}" srcOrd="0" destOrd="0" presId="urn:microsoft.com/office/officeart/2005/8/layout/hProcess11"/>
    <dgm:cxn modelId="{32175B32-BF9A-419E-B0D6-B6E369CC498D}" type="presParOf" srcId="{321BC88C-D2EA-470D-A1DF-4169817702AC}" destId="{4DF279D9-F9EF-4510-B34B-BCFD15C0E516}" srcOrd="1" destOrd="0" presId="urn:microsoft.com/office/officeart/2005/8/layout/hProcess11"/>
    <dgm:cxn modelId="{902765D2-455E-48A2-8FAE-6133792F5D8F}" type="presParOf" srcId="{321BC88C-D2EA-470D-A1DF-4169817702AC}" destId="{6834F1E9-386A-49A8-A956-8C95B901A583}" srcOrd="2" destOrd="0" presId="urn:microsoft.com/office/officeart/2005/8/layout/hProcess1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53BCB6C-8F75-44A5-B02A-85DCCFEA26D8}">
      <dsp:nvSpPr>
        <dsp:cNvPr id="0" name=""/>
        <dsp:cNvSpPr/>
      </dsp:nvSpPr>
      <dsp:spPr>
        <a:xfrm>
          <a:off x="0" y="1065778"/>
          <a:ext cx="9461378" cy="1421038"/>
        </a:xfrm>
        <a:prstGeom prst="notchedRightArrow">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ACD1586-D655-4EA8-971B-C06CB290B439}">
      <dsp:nvSpPr>
        <dsp:cNvPr id="0" name=""/>
        <dsp:cNvSpPr/>
      </dsp:nvSpPr>
      <dsp:spPr>
        <a:xfrm>
          <a:off x="2390" y="0"/>
          <a:ext cx="905367" cy="1421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b" anchorCtr="0">
          <a:noAutofit/>
        </a:bodyPr>
        <a:lstStyle/>
        <a:p>
          <a:pPr lvl="0" algn="ctr" defTabSz="444500">
            <a:lnSpc>
              <a:spcPct val="90000"/>
            </a:lnSpc>
            <a:spcBef>
              <a:spcPct val="0"/>
            </a:spcBef>
            <a:spcAft>
              <a:spcPct val="35000"/>
            </a:spcAft>
          </a:pPr>
          <a:r>
            <a:rPr lang="en-US" sz="1000" kern="1200" dirty="0" smtClean="0">
              <a:latin typeface="Calibri" pitchFamily="34" charset="0"/>
            </a:rPr>
            <a:t>Feasibility Study of PRIME Application for Automation</a:t>
          </a:r>
          <a:endParaRPr lang="en-US" sz="1000" kern="1200" dirty="0">
            <a:latin typeface="Calibri" pitchFamily="34" charset="0"/>
          </a:endParaRPr>
        </a:p>
      </dsp:txBody>
      <dsp:txXfrm>
        <a:off x="2390" y="0"/>
        <a:ext cx="905367" cy="1421038"/>
      </dsp:txXfrm>
    </dsp:sp>
    <dsp:sp modelId="{C3653074-6CC1-4E3E-871C-92C1C94B31B2}">
      <dsp:nvSpPr>
        <dsp:cNvPr id="0" name=""/>
        <dsp:cNvSpPr/>
      </dsp:nvSpPr>
      <dsp:spPr>
        <a:xfrm>
          <a:off x="277444" y="1598667"/>
          <a:ext cx="355259" cy="355259"/>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9294E6-C0DF-4DA3-A780-7ECCBFBEBB6D}">
      <dsp:nvSpPr>
        <dsp:cNvPr id="0" name=""/>
        <dsp:cNvSpPr/>
      </dsp:nvSpPr>
      <dsp:spPr>
        <a:xfrm>
          <a:off x="953027" y="2131556"/>
          <a:ext cx="905367" cy="1421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t" anchorCtr="0">
          <a:noAutofit/>
        </a:bodyPr>
        <a:lstStyle/>
        <a:p>
          <a:pPr lvl="0" algn="ctr" defTabSz="444500">
            <a:lnSpc>
              <a:spcPct val="90000"/>
            </a:lnSpc>
            <a:spcBef>
              <a:spcPct val="0"/>
            </a:spcBef>
            <a:spcAft>
              <a:spcPct val="35000"/>
            </a:spcAft>
          </a:pPr>
          <a:r>
            <a:rPr lang="en-US" sz="1000" kern="1200" dirty="0" smtClean="0">
              <a:latin typeface="Calibri" pitchFamily="34" charset="0"/>
            </a:rPr>
            <a:t>Tool Identification and Framework Creation </a:t>
          </a:r>
          <a:endParaRPr lang="en-US" sz="1000" kern="1200" dirty="0">
            <a:latin typeface="Calibri" pitchFamily="34" charset="0"/>
          </a:endParaRPr>
        </a:p>
      </dsp:txBody>
      <dsp:txXfrm>
        <a:off x="953027" y="2131556"/>
        <a:ext cx="905367" cy="1421038"/>
      </dsp:txXfrm>
    </dsp:sp>
    <dsp:sp modelId="{BBF02AED-42A3-45A3-8791-2179796F50C3}">
      <dsp:nvSpPr>
        <dsp:cNvPr id="0" name=""/>
        <dsp:cNvSpPr/>
      </dsp:nvSpPr>
      <dsp:spPr>
        <a:xfrm>
          <a:off x="1228081" y="1598667"/>
          <a:ext cx="355259" cy="355259"/>
        </a:xfrm>
        <a:prstGeom prst="ellipse">
          <a:avLst/>
        </a:prstGeom>
        <a:solidFill>
          <a:schemeClr val="accent5">
            <a:hueOff val="-1014706"/>
            <a:satOff val="0"/>
            <a:lumOff val="-36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CA4617-D15C-4012-B0AF-6C912693BBD8}">
      <dsp:nvSpPr>
        <dsp:cNvPr id="0" name=""/>
        <dsp:cNvSpPr/>
      </dsp:nvSpPr>
      <dsp:spPr>
        <a:xfrm>
          <a:off x="1903663" y="0"/>
          <a:ext cx="905367" cy="1421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b" anchorCtr="0">
          <a:noAutofit/>
        </a:bodyPr>
        <a:lstStyle/>
        <a:p>
          <a:pPr lvl="0" algn="ctr" defTabSz="444500">
            <a:lnSpc>
              <a:spcPct val="90000"/>
            </a:lnSpc>
            <a:spcBef>
              <a:spcPct val="0"/>
            </a:spcBef>
            <a:spcAft>
              <a:spcPct val="35000"/>
            </a:spcAft>
          </a:pPr>
          <a:r>
            <a:rPr lang="en-US" sz="1000" kern="1200" dirty="0" smtClean="0">
              <a:latin typeface="Calibri" pitchFamily="34" charset="0"/>
            </a:rPr>
            <a:t>Implement PRIME Application Automation </a:t>
          </a:r>
          <a:endParaRPr lang="en-US" sz="1000" kern="1200" dirty="0">
            <a:latin typeface="Calibri" pitchFamily="34" charset="0"/>
          </a:endParaRPr>
        </a:p>
      </dsp:txBody>
      <dsp:txXfrm>
        <a:off x="1903663" y="0"/>
        <a:ext cx="905367" cy="1421038"/>
      </dsp:txXfrm>
    </dsp:sp>
    <dsp:sp modelId="{CBA1063F-9CC2-4BCA-9C4A-B46E6A7C68D1}">
      <dsp:nvSpPr>
        <dsp:cNvPr id="0" name=""/>
        <dsp:cNvSpPr/>
      </dsp:nvSpPr>
      <dsp:spPr>
        <a:xfrm>
          <a:off x="2178717" y="1598667"/>
          <a:ext cx="355259" cy="355259"/>
        </a:xfrm>
        <a:prstGeom prst="ellipse">
          <a:avLst/>
        </a:prstGeom>
        <a:solidFill>
          <a:schemeClr val="accent5">
            <a:hueOff val="-2029412"/>
            <a:satOff val="0"/>
            <a:lumOff val="-73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F834813-3640-4551-98F2-8F309D09FF6F}">
      <dsp:nvSpPr>
        <dsp:cNvPr id="0" name=""/>
        <dsp:cNvSpPr/>
      </dsp:nvSpPr>
      <dsp:spPr>
        <a:xfrm>
          <a:off x="2854299" y="2131556"/>
          <a:ext cx="905367" cy="1421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t" anchorCtr="0">
          <a:noAutofit/>
        </a:bodyPr>
        <a:lstStyle/>
        <a:p>
          <a:pPr lvl="0" algn="ctr" defTabSz="444500">
            <a:lnSpc>
              <a:spcPct val="90000"/>
            </a:lnSpc>
            <a:spcBef>
              <a:spcPct val="0"/>
            </a:spcBef>
            <a:spcAft>
              <a:spcPct val="35000"/>
            </a:spcAft>
          </a:pPr>
          <a:r>
            <a:rPr lang="en-US" sz="1000" kern="1200" dirty="0" smtClean="0">
              <a:latin typeface="Calibri" pitchFamily="34" charset="0"/>
            </a:rPr>
            <a:t>Feasibility Study of SOA Automation need </a:t>
          </a:r>
          <a:endParaRPr lang="en-US" sz="1000" kern="1200" dirty="0">
            <a:latin typeface="Calibri" pitchFamily="34" charset="0"/>
          </a:endParaRPr>
        </a:p>
      </dsp:txBody>
      <dsp:txXfrm>
        <a:off x="2854299" y="2131556"/>
        <a:ext cx="905367" cy="1421038"/>
      </dsp:txXfrm>
    </dsp:sp>
    <dsp:sp modelId="{653C3D18-4864-4772-A498-C3ECDA1B0C1F}">
      <dsp:nvSpPr>
        <dsp:cNvPr id="0" name=""/>
        <dsp:cNvSpPr/>
      </dsp:nvSpPr>
      <dsp:spPr>
        <a:xfrm>
          <a:off x="3129354" y="1598667"/>
          <a:ext cx="355259" cy="355259"/>
        </a:xfrm>
        <a:prstGeom prst="ellipse">
          <a:avLst/>
        </a:prstGeom>
        <a:solidFill>
          <a:schemeClr val="accent5">
            <a:hueOff val="-3044118"/>
            <a:satOff val="0"/>
            <a:lumOff val="-110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36B5218-1428-4A75-850B-CE2033D77E28}">
      <dsp:nvSpPr>
        <dsp:cNvPr id="0" name=""/>
        <dsp:cNvSpPr/>
      </dsp:nvSpPr>
      <dsp:spPr>
        <a:xfrm>
          <a:off x="3804936" y="0"/>
          <a:ext cx="905367" cy="1421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b" anchorCtr="0">
          <a:noAutofit/>
        </a:bodyPr>
        <a:lstStyle/>
        <a:p>
          <a:pPr lvl="0" algn="ctr" defTabSz="444500">
            <a:lnSpc>
              <a:spcPct val="90000"/>
            </a:lnSpc>
            <a:spcBef>
              <a:spcPct val="0"/>
            </a:spcBef>
            <a:spcAft>
              <a:spcPct val="35000"/>
            </a:spcAft>
          </a:pPr>
          <a:r>
            <a:rPr lang="en-US" sz="1000" kern="1200" dirty="0" smtClean="0">
              <a:latin typeface="Calibri" pitchFamily="34" charset="0"/>
            </a:rPr>
            <a:t>Design /Reuse Framework  for SOA Testing </a:t>
          </a:r>
          <a:endParaRPr lang="en-US" sz="1000" kern="1200" dirty="0">
            <a:latin typeface="Calibri" pitchFamily="34" charset="0"/>
          </a:endParaRPr>
        </a:p>
      </dsp:txBody>
      <dsp:txXfrm>
        <a:off x="3804936" y="0"/>
        <a:ext cx="905367" cy="1421038"/>
      </dsp:txXfrm>
    </dsp:sp>
    <dsp:sp modelId="{BD6C663D-2E16-4CD7-9431-ADB1E1B23285}">
      <dsp:nvSpPr>
        <dsp:cNvPr id="0" name=""/>
        <dsp:cNvSpPr/>
      </dsp:nvSpPr>
      <dsp:spPr>
        <a:xfrm>
          <a:off x="4079990" y="1598667"/>
          <a:ext cx="355259" cy="355259"/>
        </a:xfrm>
        <a:prstGeom prst="ellipse">
          <a:avLst/>
        </a:prstGeom>
        <a:solidFill>
          <a:schemeClr val="accent5">
            <a:hueOff val="-4058824"/>
            <a:satOff val="0"/>
            <a:lumOff val="-147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7FCBC8F-3404-43E2-A0B7-F1E0C8A804B8}">
      <dsp:nvSpPr>
        <dsp:cNvPr id="0" name=""/>
        <dsp:cNvSpPr/>
      </dsp:nvSpPr>
      <dsp:spPr>
        <a:xfrm>
          <a:off x="4755572" y="2131556"/>
          <a:ext cx="905367" cy="1421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t" anchorCtr="0">
          <a:noAutofit/>
        </a:bodyPr>
        <a:lstStyle/>
        <a:p>
          <a:pPr lvl="0" algn="ctr" defTabSz="444500">
            <a:lnSpc>
              <a:spcPct val="90000"/>
            </a:lnSpc>
            <a:spcBef>
              <a:spcPct val="0"/>
            </a:spcBef>
            <a:spcAft>
              <a:spcPct val="35000"/>
            </a:spcAft>
          </a:pPr>
          <a:r>
            <a:rPr lang="en-US" sz="1000" kern="1200" dirty="0" smtClean="0">
              <a:latin typeface="Calibri" pitchFamily="34" charset="0"/>
            </a:rPr>
            <a:t>Implement Automation for SOA Testing</a:t>
          </a:r>
          <a:endParaRPr lang="en-US" sz="1000" kern="1200" dirty="0">
            <a:latin typeface="Calibri" pitchFamily="34" charset="0"/>
          </a:endParaRPr>
        </a:p>
      </dsp:txBody>
      <dsp:txXfrm>
        <a:off x="4755572" y="2131556"/>
        <a:ext cx="905367" cy="1421038"/>
      </dsp:txXfrm>
    </dsp:sp>
    <dsp:sp modelId="{DFBD98B4-B72C-4B11-B85A-64283251F3F5}">
      <dsp:nvSpPr>
        <dsp:cNvPr id="0" name=""/>
        <dsp:cNvSpPr/>
      </dsp:nvSpPr>
      <dsp:spPr>
        <a:xfrm>
          <a:off x="5030626" y="1598667"/>
          <a:ext cx="355259" cy="355259"/>
        </a:xfrm>
        <a:prstGeom prst="ellipse">
          <a:avLst/>
        </a:prstGeom>
        <a:solidFill>
          <a:schemeClr val="accent5">
            <a:hueOff val="-5073530"/>
            <a:satOff val="0"/>
            <a:lumOff val="-183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DFDA55B-B6D7-4311-9625-C18BA4C7B9A3}">
      <dsp:nvSpPr>
        <dsp:cNvPr id="0" name=""/>
        <dsp:cNvSpPr/>
      </dsp:nvSpPr>
      <dsp:spPr>
        <a:xfrm>
          <a:off x="5706208" y="0"/>
          <a:ext cx="905367" cy="1421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b" anchorCtr="0">
          <a:noAutofit/>
        </a:bodyPr>
        <a:lstStyle/>
        <a:p>
          <a:pPr lvl="0" algn="ctr" defTabSz="444500">
            <a:lnSpc>
              <a:spcPct val="90000"/>
            </a:lnSpc>
            <a:spcBef>
              <a:spcPct val="0"/>
            </a:spcBef>
            <a:spcAft>
              <a:spcPct val="35000"/>
            </a:spcAft>
          </a:pPr>
          <a:r>
            <a:rPr lang="en-US" sz="1000" kern="1200" dirty="0" smtClean="0">
              <a:latin typeface="Calibri" pitchFamily="34" charset="0"/>
            </a:rPr>
            <a:t>Feasibility Study of Sales Force Application</a:t>
          </a:r>
          <a:endParaRPr lang="en-US" sz="1000" kern="1200" dirty="0">
            <a:latin typeface="Calibri" pitchFamily="34" charset="0"/>
          </a:endParaRPr>
        </a:p>
      </dsp:txBody>
      <dsp:txXfrm>
        <a:off x="5706208" y="0"/>
        <a:ext cx="905367" cy="1421038"/>
      </dsp:txXfrm>
    </dsp:sp>
    <dsp:sp modelId="{4E4F98CC-F2C4-4BC1-A115-328B07C1BD21}">
      <dsp:nvSpPr>
        <dsp:cNvPr id="0" name=""/>
        <dsp:cNvSpPr/>
      </dsp:nvSpPr>
      <dsp:spPr>
        <a:xfrm>
          <a:off x="5981263" y="1598667"/>
          <a:ext cx="355259" cy="355259"/>
        </a:xfrm>
        <a:prstGeom prst="ellipse">
          <a:avLst/>
        </a:prstGeom>
        <a:solidFill>
          <a:schemeClr val="accent5">
            <a:hueOff val="-6088236"/>
            <a:satOff val="0"/>
            <a:lumOff val="-220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E420C2E-B02C-426A-A7BF-DD1B74A67373}">
      <dsp:nvSpPr>
        <dsp:cNvPr id="0" name=""/>
        <dsp:cNvSpPr/>
      </dsp:nvSpPr>
      <dsp:spPr>
        <a:xfrm>
          <a:off x="6656845" y="2131556"/>
          <a:ext cx="905367" cy="1421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t" anchorCtr="0">
          <a:noAutofit/>
        </a:bodyPr>
        <a:lstStyle/>
        <a:p>
          <a:pPr lvl="0" algn="ctr" defTabSz="444500">
            <a:lnSpc>
              <a:spcPct val="90000"/>
            </a:lnSpc>
            <a:spcBef>
              <a:spcPct val="0"/>
            </a:spcBef>
            <a:spcAft>
              <a:spcPct val="35000"/>
            </a:spcAft>
          </a:pPr>
          <a:r>
            <a:rPr lang="en-US" sz="1000" kern="1200" dirty="0" smtClean="0">
              <a:latin typeface="Calibri" pitchFamily="34" charset="0"/>
            </a:rPr>
            <a:t>Design /Reuse Framework  for Sales Force </a:t>
          </a:r>
          <a:endParaRPr lang="en-US" sz="1000" kern="1200" dirty="0">
            <a:latin typeface="Calibri" pitchFamily="34" charset="0"/>
          </a:endParaRPr>
        </a:p>
      </dsp:txBody>
      <dsp:txXfrm>
        <a:off x="6656845" y="2131556"/>
        <a:ext cx="905367" cy="1421038"/>
      </dsp:txXfrm>
    </dsp:sp>
    <dsp:sp modelId="{B087A559-6CB8-4532-9C24-8DDFDA23C529}">
      <dsp:nvSpPr>
        <dsp:cNvPr id="0" name=""/>
        <dsp:cNvSpPr/>
      </dsp:nvSpPr>
      <dsp:spPr>
        <a:xfrm>
          <a:off x="6931899" y="1598667"/>
          <a:ext cx="355259" cy="355259"/>
        </a:xfrm>
        <a:prstGeom prst="ellipse">
          <a:avLst/>
        </a:prstGeom>
        <a:solidFill>
          <a:schemeClr val="accent5">
            <a:hueOff val="-7102942"/>
            <a:satOff val="0"/>
            <a:lumOff val="-25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94DC1D4-9D27-405A-92BC-3FDBD0C879F0}">
      <dsp:nvSpPr>
        <dsp:cNvPr id="0" name=""/>
        <dsp:cNvSpPr/>
      </dsp:nvSpPr>
      <dsp:spPr>
        <a:xfrm>
          <a:off x="7607481" y="0"/>
          <a:ext cx="905367" cy="1421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b" anchorCtr="0">
          <a:noAutofit/>
        </a:bodyPr>
        <a:lstStyle/>
        <a:p>
          <a:pPr lvl="0" algn="ctr" defTabSz="444500">
            <a:lnSpc>
              <a:spcPct val="90000"/>
            </a:lnSpc>
            <a:spcBef>
              <a:spcPct val="0"/>
            </a:spcBef>
            <a:spcAft>
              <a:spcPct val="35000"/>
            </a:spcAft>
          </a:pPr>
          <a:r>
            <a:rPr lang="en-US" sz="1000" kern="1200" dirty="0" smtClean="0">
              <a:latin typeface="Calibri" pitchFamily="34" charset="0"/>
            </a:rPr>
            <a:t>Implement Automation for Sales Force</a:t>
          </a:r>
          <a:endParaRPr lang="en-US" sz="1000" kern="1200" dirty="0">
            <a:latin typeface="Calibri" pitchFamily="34" charset="0"/>
          </a:endParaRPr>
        </a:p>
      </dsp:txBody>
      <dsp:txXfrm>
        <a:off x="7607481" y="0"/>
        <a:ext cx="905367" cy="1421038"/>
      </dsp:txXfrm>
    </dsp:sp>
    <dsp:sp modelId="{4DF279D9-F9EF-4510-B34B-BCFD15C0E516}">
      <dsp:nvSpPr>
        <dsp:cNvPr id="0" name=""/>
        <dsp:cNvSpPr/>
      </dsp:nvSpPr>
      <dsp:spPr>
        <a:xfrm>
          <a:off x="7882535" y="1598667"/>
          <a:ext cx="355259" cy="355259"/>
        </a:xfrm>
        <a:prstGeom prst="ellipse">
          <a:avLst/>
        </a:prstGeom>
        <a:solidFill>
          <a:schemeClr val="accent5">
            <a:hueOff val="-8117648"/>
            <a:satOff val="0"/>
            <a:lumOff val="-29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20009531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16/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1537668310"/>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 xmlns:p14="http://schemas.microsoft.com/office/powerpoint/2010/main" val="2971160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 xmlns:p14="http://schemas.microsoft.com/office/powerpoint/2010/main" val="16046908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0.xml"/><Relationship Id="rId7" Type="http://schemas.openxmlformats.org/officeDocument/2006/relationships/slideMaster" Target="../slideMasters/slideMaster1.xml"/><Relationship Id="rId12"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6.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image" Target="../media/image14.png"/><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4.png"/><Relationship Id="rId2" Type="http://schemas.openxmlformats.org/officeDocument/2006/relationships/tags" Target="../tags/tag46.xml"/><Relationship Id="rId1" Type="http://schemas.openxmlformats.org/officeDocument/2006/relationships/vmlDrawing" Target="../drawings/vmlDrawing13.vml"/><Relationship Id="rId6" Type="http://schemas.openxmlformats.org/officeDocument/2006/relationships/image" Target="../media/image15.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16.jpeg"/><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17.jpe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image" Target="../media/image16.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xml"/><Relationship Id="rId7" Type="http://schemas.openxmlformats.org/officeDocument/2006/relationships/slideMaster" Target="../slideMasters/slideMaster1.xml"/><Relationship Id="rId12" Type="http://schemas.openxmlformats.org/officeDocument/2006/relationships/image" Target="../media/image3.pn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6.emf"/><Relationship Id="rId5" Type="http://schemas.openxmlformats.org/officeDocument/2006/relationships/tags" Target="../tags/tag17.xml"/><Relationship Id="rId10" Type="http://schemas.openxmlformats.org/officeDocument/2006/relationships/image" Target="../media/image5.jpeg"/><Relationship Id="rId4" Type="http://schemas.openxmlformats.org/officeDocument/2006/relationships/tags" Target="../tags/tag16.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8.png"/><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1.xml"/><Relationship Id="rId7"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8.v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Picture 148"/>
          <p:cNvPicPr>
            <a:picLocks noChangeAspect="1" noChangeArrowheads="1"/>
          </p:cNvPicPr>
          <p:nvPr userDrawn="1"/>
        </p:nvPicPr>
        <p:blipFill>
          <a:blip r:embed="rId8" cstate="print"/>
          <a:srcRect b="8382"/>
          <a:stretch>
            <a:fillRect/>
          </a:stretch>
        </p:blipFill>
        <p:spPr bwMode="auto">
          <a:xfrm>
            <a:off x="0" y="552623"/>
            <a:ext cx="9902825" cy="6048375"/>
          </a:xfrm>
          <a:prstGeom prst="rect">
            <a:avLst/>
          </a:prstGeom>
          <a:noFill/>
          <a:ln w="9525">
            <a:noFill/>
            <a:miter lim="800000"/>
            <a:headEnd/>
            <a:tailEnd/>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9"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4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5"/>
            </p:custDataLst>
          </p:nvPr>
        </p:nvSpPr>
        <p:spPr>
          <a:xfrm>
            <a:off x="-1" y="5080615"/>
            <a:ext cx="9902952" cy="560467"/>
          </a:xfrm>
          <a:solidFill>
            <a:schemeClr val="bg1">
              <a:alpha val="50000"/>
            </a:schemeClr>
          </a:solidFill>
        </p:spPr>
        <p:txBody>
          <a:bodyPr lIns="720000" tIns="33059" rIns="33059" bIns="33059" anchor="ctr"/>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1" y="5702803"/>
            <a:ext cx="9902952" cy="483704"/>
          </a:xfrm>
          <a:solidFill>
            <a:schemeClr val="bg1">
              <a:alpha val="50000"/>
            </a:schemeClr>
          </a:solidFill>
        </p:spPr>
        <p:txBody>
          <a:bodyPr lIns="720000" tIns="33059" rIns="33059" bIns="33059" anchor="ctr"/>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21" descr="entercard.png"/>
          <p:cNvPicPr>
            <a:picLocks noChangeAspect="1"/>
          </p:cNvPicPr>
          <p:nvPr userDrawn="1"/>
        </p:nvPicPr>
        <p:blipFill>
          <a:blip r:embed="rId12" cstate="print"/>
          <a:srcRect/>
          <a:stretch>
            <a:fillRect/>
          </a:stretch>
        </p:blipFill>
        <p:spPr bwMode="auto">
          <a:xfrm>
            <a:off x="6969125" y="700103"/>
            <a:ext cx="2146300" cy="603250"/>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7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2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117" name="think-cell Slide" r:id="rId5" imgW="360" imgH="360" progId="">
              <p:embed/>
            </p:oleObj>
          </a:graphicData>
        </a:graphic>
      </p:graphicFrame>
      <p:sp>
        <p:nvSpPr>
          <p:cNvPr id="7" name="Rectangle 6"/>
          <p:cNvSpPr/>
          <p:nvPr userDrawn="1">
            <p:custDataLst>
              <p:tags r:id="rId2"/>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8" name="Image 7" descr="ppt_Label_CBE.png"/>
          <p:cNvPicPr>
            <a:picLocks noChangeAspect="1"/>
          </p:cNvPicPr>
          <p:nvPr userDrawn="1"/>
        </p:nvPicPr>
        <p:blipFill>
          <a:blip r:embed="rId6" cstate="email"/>
          <a:stretch>
            <a:fillRect/>
          </a:stretch>
        </p:blipFill>
        <p:spPr>
          <a:xfrm>
            <a:off x="814448" y="3458687"/>
            <a:ext cx="576000" cy="576000"/>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093" name="think-cell Slide" r:id="rId5" imgW="360" imgH="360" progId="">
              <p:embed/>
            </p:oleObj>
          </a:graphicData>
        </a:graphic>
      </p:graphicFrame>
      <p:sp>
        <p:nvSpPr>
          <p:cNvPr id="7" name="Rectangle 6"/>
          <p:cNvSpPr/>
          <p:nvPr userDrawn="1">
            <p:custDataLst>
              <p:tags r:id="rId2"/>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9" name="Image 8" descr="Locations_Map_2013.png"/>
          <p:cNvPicPr>
            <a:picLocks noChangeAspect="1"/>
          </p:cNvPicPr>
          <p:nvPr userDrawn="1"/>
        </p:nvPicPr>
        <p:blipFill>
          <a:blip r:embed="rId6" cstate="print"/>
          <a:stretch>
            <a:fillRect/>
          </a:stretch>
        </p:blipFill>
        <p:spPr>
          <a:xfrm>
            <a:off x="5406989" y="3467594"/>
            <a:ext cx="3896499" cy="1872735"/>
          </a:xfrm>
          <a:prstGeom prst="rect">
            <a:avLst/>
          </a:prstGeom>
        </p:spPr>
      </p:pic>
      <p:sp>
        <p:nvSpPr>
          <p:cNvPr id="8" name="Rectangle 9"/>
          <p:cNvSpPr>
            <a:spLocks noChangeArrowheads="1"/>
          </p:cNvSpPr>
          <p:nvPr userDrawn="1">
            <p:custDataLst>
              <p:tags r:id="rId3"/>
            </p:custDataLst>
          </p:nvPr>
        </p:nvSpPr>
        <p:spPr bwMode="gray">
          <a:xfrm>
            <a:off x="1106088" y="3693226"/>
            <a:ext cx="425984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7" cstate="email"/>
          <a:stretch>
            <a:fillRect/>
          </a:stretch>
        </p:blipFill>
        <p:spPr>
          <a:xfrm>
            <a:off x="814448" y="3458687"/>
            <a:ext cx="576000" cy="576000"/>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69" name="think-cell Slide" r:id="rId4" imgW="360" imgH="360" progId="">
              <p:embed/>
            </p:oleObj>
          </a:graphicData>
        </a:graphic>
      </p:graphicFrame>
      <p:sp>
        <p:nvSpPr>
          <p:cNvPr id="4" name="Rectangle 3"/>
          <p:cNvSpPr/>
          <p:nvPr userDrawn="1">
            <p:custDataLst>
              <p:tags r:id="rId2"/>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8" name="Picture 2" descr="D:\Training Material\CG Templates\Images Downloaded\shutterstock_1698197.jpg"/>
          <p:cNvPicPr>
            <a:picLocks noChangeAspect="1" noChangeArrowheads="1"/>
          </p:cNvPicPr>
          <p:nvPr userDrawn="1"/>
        </p:nvPicPr>
        <p:blipFill>
          <a:blip r:embed="rId5" cstate="print"/>
          <a:srcRect r="11626"/>
          <a:stretch>
            <a:fillRect/>
          </a:stretch>
        </p:blipFill>
        <p:spPr bwMode="auto">
          <a:xfrm rot="16200000">
            <a:off x="2031977" y="-2031976"/>
            <a:ext cx="5838998" cy="9902952"/>
          </a:xfrm>
          <a:prstGeom prst="rect">
            <a:avLst/>
          </a:prstGeom>
          <a:noFill/>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21" name="think-cell Slide" r:id="rId6"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5" cstate="screen"/>
          <a:srcRect/>
          <a:stretch>
            <a:fillRect/>
          </a:stretch>
        </p:blipFill>
        <p:spPr>
          <a:xfrm>
            <a:off x="0" y="0"/>
            <a:ext cx="9906000" cy="4898571"/>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7478" name="think-cell Slide" r:id="rId6" imgW="360" imgH="360" progId="">
              <p:embed/>
            </p:oleObj>
          </a:graphicData>
        </a:graphic>
      </p:graphicFrame>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Picture 2" descr="D:\Training Material\CG Templates\Images Downloaded\shutterstock_1698197.jpg"/>
          <p:cNvPicPr>
            <a:picLocks noChangeAspect="1" noChangeArrowheads="1"/>
          </p:cNvPicPr>
          <p:nvPr userDrawn="1"/>
        </p:nvPicPr>
        <p:blipFill>
          <a:blip r:embed="rId5" cstate="print"/>
          <a:srcRect r="11626"/>
          <a:stretch>
            <a:fillRect/>
          </a:stretch>
        </p:blipFill>
        <p:spPr bwMode="auto">
          <a:xfrm rot="16200000">
            <a:off x="2031977" y="-1012976"/>
            <a:ext cx="5838998" cy="9902952"/>
          </a:xfrm>
          <a:prstGeom prst="rect">
            <a:avLst/>
          </a:prstGeom>
          <a:noFill/>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9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5" name="Image 14" descr="ppt_Capgemini_Image_115U9844-1.jpg"/>
          <p:cNvPicPr>
            <a:picLocks noChangeAspect="1"/>
          </p:cNvPicPr>
          <p:nvPr userDrawn="1"/>
        </p:nvPicPr>
        <p:blipFill>
          <a:blip r:embed="rId8" cstate="email"/>
          <a:srcRect/>
          <a:stretch>
            <a:fillRect/>
          </a:stretch>
        </p:blipFill>
        <p:spPr>
          <a:xfrm>
            <a:off x="0" y="1318160"/>
            <a:ext cx="9906000" cy="5029201"/>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302"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004115"/>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userDrawn="1"/>
        </p:nvPicPr>
        <p:blipFill>
          <a:blip r:embed="rId10" cstate="print"/>
          <a:stretch>
            <a:fillRect/>
          </a:stretch>
        </p:blipFill>
        <p:spPr>
          <a:xfrm>
            <a:off x="735690" y="658705"/>
            <a:ext cx="2880000" cy="686046"/>
          </a:xfrm>
          <a:prstGeom prst="rect">
            <a:avLst/>
          </a:prstGeom>
        </p:spPr>
      </p:pic>
      <p:pic>
        <p:nvPicPr>
          <p:cNvPr id="12"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569786" y="6520696"/>
            <a:ext cx="2880000" cy="229351"/>
          </a:xfrm>
          <a:prstGeom prst="rect">
            <a:avLst/>
          </a:prstGeom>
          <a:noFill/>
        </p:spPr>
      </p:pic>
      <p:pic>
        <p:nvPicPr>
          <p:cNvPr id="11" name="Picture 21" descr="entercard.png"/>
          <p:cNvPicPr>
            <a:picLocks noChangeAspect="1"/>
          </p:cNvPicPr>
          <p:nvPr userDrawn="1"/>
        </p:nvPicPr>
        <p:blipFill>
          <a:blip r:embed="rId12" cstate="print"/>
          <a:srcRect/>
          <a:stretch>
            <a:fillRect/>
          </a:stretch>
        </p:blipFill>
        <p:spPr bwMode="auto">
          <a:xfrm>
            <a:off x="6969125" y="700103"/>
            <a:ext cx="2146300" cy="603250"/>
          </a:xfrm>
          <a:prstGeom prst="rect">
            <a:avLst/>
          </a:prstGeom>
          <a:noFill/>
          <a:ln w="9525">
            <a:noFill/>
            <a:miter lim="800000"/>
            <a:headEnd/>
            <a:tailEnd/>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0"/>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4133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userDrawn="1"/>
        </p:nvPicPr>
        <p:blipFill>
          <a:blip r:embed="rId7" cstate="email"/>
          <a:srcRect b="8012"/>
          <a:stretch>
            <a:fillRect/>
          </a:stretch>
        </p:blipFill>
        <p:spPr>
          <a:xfrm>
            <a:off x="-1"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5"/>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80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2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0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hyperlink" Target="http://www.linkedin.com/company/capgemini" TargetMode="External"/><Relationship Id="rId26" Type="http://schemas.openxmlformats.org/officeDocument/2006/relationships/image" Target="../media/image5.jpeg"/><Relationship Id="rId3" Type="http://schemas.openxmlformats.org/officeDocument/2006/relationships/slideLayout" Target="../slideLayouts/slideLayout14.xml"/><Relationship Id="rId21" Type="http://schemas.openxmlformats.org/officeDocument/2006/relationships/image" Target="../media/image11.png"/><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image" Target="../media/image9.png"/><Relationship Id="rId25" Type="http://schemas.openxmlformats.org/officeDocument/2006/relationships/image" Target="../media/image13.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6.emf"/><Relationship Id="rId23" Type="http://schemas.openxmlformats.org/officeDocument/2006/relationships/image" Target="../media/image12.png"/><Relationship Id="rId10" Type="http://schemas.openxmlformats.org/officeDocument/2006/relationships/tags" Target="../tags/tag40.xml"/><Relationship Id="rId19" Type="http://schemas.openxmlformats.org/officeDocument/2006/relationships/image" Target="../media/image10.png"/><Relationship Id="rId4" Type="http://schemas.openxmlformats.org/officeDocument/2006/relationships/theme" Target="../theme/theme2.xml"/><Relationship Id="rId9" Type="http://schemas.openxmlformats.org/officeDocument/2006/relationships/tags" Target="../tags/tag39.xml"/><Relationship Id="rId14" Type="http://schemas.openxmlformats.org/officeDocument/2006/relationships/oleObject" Target="../embeddings/oleObject11.bin"/><Relationship Id="rId22" Type="http://schemas.openxmlformats.org/officeDocument/2006/relationships/hyperlink" Target="http://www.youtube.com/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5.bin"/><Relationship Id="rId5" Type="http://schemas.openxmlformats.org/officeDocument/2006/relationships/vmlDrawing" Target="../drawings/vmlDrawing15.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69" name="think-cell Slide" r:id="rId21" imgW="360" imgH="360" progId="">
              <p:embed/>
            </p:oleObj>
          </a:graphicData>
        </a:graphic>
      </p:graphicFrame>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36576"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8"/>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amp; EnterCard 2017 All Rights Reserved</a:t>
            </a:r>
          </a:p>
        </p:txBody>
      </p:sp>
      <p:sp>
        <p:nvSpPr>
          <p:cNvPr id="13" name="Rectangle 12"/>
          <p:cNvSpPr/>
          <p:nvPr>
            <p:custDataLst>
              <p:tags r:id="rId19"/>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Test Automation| AUG  2017</a:t>
            </a:r>
            <a:endParaRPr lang="en-US" sz="700" dirty="0">
              <a:solidFill>
                <a:schemeClr val="tx2"/>
              </a:solidFill>
              <a:latin typeface="+mj-lt"/>
            </a:endParaRPr>
          </a:p>
        </p:txBody>
      </p:sp>
      <p:cxnSp>
        <p:nvCxnSpPr>
          <p:cNvPr id="15" name="Straight Connector 5"/>
          <p:cNvCxnSpPr/>
          <p:nvPr>
            <p:custDataLst>
              <p:tags r:id="rId20"/>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118184" y="6419977"/>
            <a:ext cx="1440000" cy="343023"/>
          </a:xfrm>
          <a:prstGeom prst="rect">
            <a:avLst/>
          </a:prstGeom>
        </p:spPr>
      </p:pic>
      <p:pic>
        <p:nvPicPr>
          <p:cNvPr id="16" name="Picture 15" descr="entercard.png"/>
          <p:cNvPicPr>
            <a:picLocks noChangeAspect="1"/>
          </p:cNvPicPr>
          <p:nvPr userDrawn="1"/>
        </p:nvPicPr>
        <p:blipFill>
          <a:blip r:embed="rId23" cstate="print"/>
          <a:srcRect/>
          <a:stretch>
            <a:fillRect/>
          </a:stretch>
        </p:blipFill>
        <p:spPr bwMode="auto">
          <a:xfrm>
            <a:off x="4371975" y="6428295"/>
            <a:ext cx="1162050" cy="3263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28" r:id="rId1"/>
    <p:sldLayoutId id="2147483937" r:id="rId2"/>
    <p:sldLayoutId id="2147483972" r:id="rId3"/>
    <p:sldLayoutId id="2147483969" r:id="rId4"/>
    <p:sldLayoutId id="2147483965" r:id="rId5"/>
    <p:sldLayoutId id="2147483966" r:id="rId6"/>
    <p:sldLayoutId id="2147483962" r:id="rId7"/>
    <p:sldLayoutId id="2147483963" r:id="rId8"/>
    <p:sldLayoutId id="2147483968" r:id="rId9"/>
    <p:sldLayoutId id="2147483964" r:id="rId10"/>
    <p:sldLayoutId id="2147483934" r:id="rId11"/>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41" name="think-cell Slide" r:id="rId14" imgW="360" imgH="360" progId="">
              <p:embed/>
            </p:oleObj>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4"/>
            <a:ext cx="2880000" cy="229353"/>
          </a:xfrm>
          <a:prstGeom prst="rect">
            <a:avLst/>
          </a:prstGeom>
          <a:noFill/>
        </p:spPr>
      </p:pic>
      <p:sp>
        <p:nvSpPr>
          <p:cNvPr id="15" name="Rectangle 14"/>
          <p:cNvSpPr/>
          <p:nvPr>
            <p:custDataLst>
              <p:tags r:id="rId8"/>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8" y="5932547"/>
            <a:ext cx="281313"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45" name="think-cell Slide" r:id="rId6"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71" r:id="rId2"/>
    <p:sldLayoutId id="214748395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9.xml"/><Relationship Id="rId1" Type="http://schemas.openxmlformats.org/officeDocument/2006/relationships/vmlDrawing" Target="../drawings/vmlDrawing23.vml"/><Relationship Id="rId4" Type="http://schemas.openxmlformats.org/officeDocument/2006/relationships/oleObject" Target="../embeddings/oleObject23.bin"/></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6.xml"/><Relationship Id="rId1" Type="http://schemas.openxmlformats.org/officeDocument/2006/relationships/vmlDrawing" Target="../drawings/vmlDrawing20.vml"/><Relationship Id="rId4" Type="http://schemas.openxmlformats.org/officeDocument/2006/relationships/oleObject" Target="../embeddings/oleObject20.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7.xml"/><Relationship Id="rId1" Type="http://schemas.openxmlformats.org/officeDocument/2006/relationships/vmlDrawing" Target="../drawings/vmlDrawing21.vml"/><Relationship Id="rId5" Type="http://schemas.openxmlformats.org/officeDocument/2006/relationships/oleObject" Target="../embeddings/oleObject21.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8.xml"/><Relationship Id="rId1" Type="http://schemas.openxmlformats.org/officeDocument/2006/relationships/vmlDrawing" Target="../drawings/vmlDrawing22.vml"/><Relationship Id="rId5" Type="http://schemas.openxmlformats.org/officeDocument/2006/relationships/image" Target="../media/image18.png"/><Relationship Id="rId4" Type="http://schemas.openxmlformats.org/officeDocument/2006/relationships/oleObject" Target="../embeddings/oleObject22.bin"/></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798" name="think-cell Slide" r:id="rId5" imgW="360" imgH="360" progId="">
              <p:embed/>
            </p:oleObj>
          </a:graphicData>
        </a:graphic>
      </p:graphicFrame>
      <p:sp>
        <p:nvSpPr>
          <p:cNvPr id="10" name="Title 9"/>
          <p:cNvSpPr>
            <a:spLocks noGrp="1"/>
          </p:cNvSpPr>
          <p:nvPr>
            <p:ph type="title"/>
            <p:custDataLst>
              <p:tags r:id="rId2"/>
            </p:custDataLst>
          </p:nvPr>
        </p:nvSpPr>
        <p:spPr>
          <a:xfrm>
            <a:off x="4490752" y="2386832"/>
            <a:ext cx="5415248" cy="2414915"/>
          </a:xfrm>
        </p:spPr>
        <p:txBody>
          <a:bodyPr/>
          <a:lstStyle/>
          <a:p>
            <a:r>
              <a:rPr lang="en-GB" sz="4000" dirty="0" smtClean="0"/>
              <a:t>Test </a:t>
            </a:r>
            <a:r>
              <a:rPr lang="en-GB" sz="4000" dirty="0" smtClean="0"/>
              <a:t>Automation Solution</a:t>
            </a:r>
            <a:endParaRPr lang="en-GB" sz="4000"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7">
              <a:buNone/>
            </a:pPr>
            <a:endParaRPr lang="en-US" sz="6000" dirty="0" smtClean="0"/>
          </a:p>
          <a:p>
            <a:pPr lvl="7">
              <a:buNone/>
            </a:pPr>
            <a:r>
              <a:rPr lang="en-US" sz="6000" dirty="0" smtClean="0"/>
              <a:t>Appendix</a:t>
            </a:r>
            <a:endParaRPr lang="en-US" sz="60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nium </a:t>
            </a:r>
            <a:r>
              <a:rPr lang="en-US" dirty="0" err="1" smtClean="0"/>
              <a:t>WebDriver</a:t>
            </a:r>
            <a:r>
              <a:rPr lang="en-US" dirty="0" smtClean="0"/>
              <a:t>- Package Explorer view</a:t>
            </a:r>
            <a:endParaRPr lang="en-US" dirty="0"/>
          </a:p>
        </p:txBody>
      </p:sp>
      <p:pic>
        <p:nvPicPr>
          <p:cNvPr id="4" name="Content Placeholder 3"/>
          <p:cNvPicPr>
            <a:picLocks noGrp="1" noChangeAspect="1"/>
          </p:cNvPicPr>
          <p:nvPr>
            <p:ph idx="1"/>
          </p:nvPr>
        </p:nvPicPr>
        <p:blipFill>
          <a:blip r:embed="rId2" cstate="print">
            <a:extLst>
              <a:ext uri="{28A0092B-C50C-407E-A947-70E740481C1C}">
                <a14:useLocalDpi xmlns="" xmlns:a14="http://schemas.microsoft.com/office/drawing/2010/main" val="0"/>
              </a:ext>
            </a:extLst>
          </a:blip>
          <a:stretch>
            <a:fillRect/>
          </a:stretch>
        </p:blipFill>
        <p:spPr>
          <a:xfrm>
            <a:off x="471744" y="1581641"/>
            <a:ext cx="8672256" cy="4478677"/>
          </a:xfrm>
          <a:prstGeom prst="rect">
            <a:avLst/>
          </a:prstGeom>
          <a:noFill/>
          <a:ln>
            <a:noFill/>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nium </a:t>
            </a:r>
            <a:r>
              <a:rPr lang="en-US" dirty="0" err="1" smtClean="0"/>
              <a:t>WebDriver</a:t>
            </a:r>
            <a:r>
              <a:rPr lang="en-US" dirty="0" smtClean="0"/>
              <a:t> – Script View </a:t>
            </a:r>
            <a:endParaRPr lang="en-US" dirty="0"/>
          </a:p>
        </p:txBody>
      </p:sp>
      <p:pic>
        <p:nvPicPr>
          <p:cNvPr id="4" name="Content Placeholder 3"/>
          <p:cNvPicPr>
            <a:picLocks noGrp="1" noChangeAspect="1"/>
          </p:cNvPicPr>
          <p:nvPr>
            <p:ph idx="1"/>
          </p:nvPr>
        </p:nvPicPr>
        <p:blipFill>
          <a:blip r:embed="rId2" cstate="print">
            <a:extLst>
              <a:ext uri="{28A0092B-C50C-407E-A947-70E740481C1C}">
                <a14:useLocalDpi xmlns="" xmlns:a14="http://schemas.microsoft.com/office/drawing/2010/main" val="0"/>
              </a:ext>
            </a:extLst>
          </a:blip>
          <a:stretch>
            <a:fillRect/>
          </a:stretch>
        </p:blipFill>
        <p:spPr>
          <a:xfrm>
            <a:off x="502182" y="1517904"/>
            <a:ext cx="8901636" cy="4581144"/>
          </a:xfrm>
          <a:prstGeom prst="rect">
            <a:avLst/>
          </a:prstGeom>
          <a:noFill/>
          <a:ln>
            <a:noFill/>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nium </a:t>
            </a:r>
            <a:r>
              <a:rPr lang="en-US" dirty="0" err="1" smtClean="0"/>
              <a:t>WebDriver</a:t>
            </a:r>
            <a:r>
              <a:rPr lang="en-US" dirty="0" smtClean="0"/>
              <a:t>- Page View </a:t>
            </a:r>
            <a:endParaRPr lang="en-US" dirty="0"/>
          </a:p>
        </p:txBody>
      </p:sp>
      <p:pic>
        <p:nvPicPr>
          <p:cNvPr id="4" name="Content Placeholder 3"/>
          <p:cNvPicPr>
            <a:picLocks noGrp="1" noChangeAspect="1"/>
          </p:cNvPicPr>
          <p:nvPr>
            <p:ph idx="1"/>
          </p:nvPr>
        </p:nvPicPr>
        <p:blipFill>
          <a:blip r:embed="rId2" cstate="print">
            <a:extLst>
              <a:ext uri="{28A0092B-C50C-407E-A947-70E740481C1C}">
                <a14:useLocalDpi xmlns="" xmlns:a14="http://schemas.microsoft.com/office/drawing/2010/main" val="0"/>
              </a:ext>
            </a:extLst>
          </a:blip>
          <a:stretch>
            <a:fillRect/>
          </a:stretch>
        </p:blipFill>
        <p:spPr>
          <a:xfrm>
            <a:off x="497310" y="1555576"/>
            <a:ext cx="8683266" cy="4570642"/>
          </a:xfrm>
          <a:prstGeom prst="rect">
            <a:avLst/>
          </a:prstGeom>
          <a:noFill/>
          <a:ln>
            <a:noFill/>
          </a:ln>
        </p:spPr>
      </p:pic>
    </p:spTree>
    <p:extLst>
      <p:ext uri="{BB962C8B-B14F-4D97-AF65-F5344CB8AC3E}">
        <p14:creationId xmlns="" xmlns:p14="http://schemas.microsoft.com/office/powerpoint/2010/main" val="24958600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mation Screenshot – TestNG suite </a:t>
            </a:r>
            <a:endParaRPr lang="en-US" dirty="0"/>
          </a:p>
        </p:txBody>
      </p:sp>
      <p:pic>
        <p:nvPicPr>
          <p:cNvPr id="4" name="Content Placeholder 3"/>
          <p:cNvPicPr>
            <a:picLocks noGrp="1" noChangeAspect="1"/>
          </p:cNvPicPr>
          <p:nvPr>
            <p:ph idx="1"/>
          </p:nvPr>
        </p:nvPicPr>
        <p:blipFill>
          <a:blip r:embed="rId2" cstate="print">
            <a:extLst>
              <a:ext uri="{28A0092B-C50C-407E-A947-70E740481C1C}">
                <a14:useLocalDpi xmlns="" xmlns:a14="http://schemas.microsoft.com/office/drawing/2010/main" val="0"/>
              </a:ext>
            </a:extLst>
          </a:blip>
          <a:stretch>
            <a:fillRect/>
          </a:stretch>
        </p:blipFill>
        <p:spPr>
          <a:xfrm>
            <a:off x="473323" y="1551491"/>
            <a:ext cx="8807837" cy="4712113"/>
          </a:xfrm>
          <a:prstGeom prst="rect">
            <a:avLst/>
          </a:prstGeom>
          <a:noFill/>
          <a:ln>
            <a:noFill/>
          </a:ln>
        </p:spPr>
      </p:pic>
    </p:spTree>
    <p:extLst>
      <p:ext uri="{BB962C8B-B14F-4D97-AF65-F5344CB8AC3E}">
        <p14:creationId xmlns="" xmlns:p14="http://schemas.microsoft.com/office/powerpoint/2010/main" val="195016173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nium </a:t>
            </a:r>
            <a:r>
              <a:rPr lang="en-US" dirty="0" err="1" smtClean="0"/>
              <a:t>WebDriver</a:t>
            </a:r>
            <a:r>
              <a:rPr lang="en-US" dirty="0" smtClean="0"/>
              <a:t> – TestNG report </a:t>
            </a:r>
            <a:endParaRPr lang="en-US" dirty="0"/>
          </a:p>
        </p:txBody>
      </p:sp>
      <p:pic>
        <p:nvPicPr>
          <p:cNvPr id="4" name="Content Placeholder 3"/>
          <p:cNvPicPr>
            <a:picLocks noGrp="1" noChangeAspect="1"/>
          </p:cNvPicPr>
          <p:nvPr>
            <p:ph idx="1"/>
          </p:nvPr>
        </p:nvPicPr>
        <p:blipFill>
          <a:blip r:embed="rId2" cstate="print">
            <a:extLst>
              <a:ext uri="{28A0092B-C50C-407E-A947-70E740481C1C}">
                <a14:useLocalDpi xmlns="" xmlns:a14="http://schemas.microsoft.com/office/drawing/2010/main" val="0"/>
              </a:ext>
            </a:extLst>
          </a:blip>
          <a:stretch>
            <a:fillRect/>
          </a:stretch>
        </p:blipFill>
        <p:spPr>
          <a:xfrm>
            <a:off x="498061" y="1576006"/>
            <a:ext cx="8435627" cy="4659479"/>
          </a:xfrm>
          <a:prstGeom prst="rect">
            <a:avLst/>
          </a:prstGeom>
          <a:noFill/>
          <a:ln>
            <a:noFill/>
          </a:ln>
        </p:spPr>
      </p:pic>
    </p:spTree>
    <p:extLst>
      <p:ext uri="{BB962C8B-B14F-4D97-AF65-F5344CB8AC3E}">
        <p14:creationId xmlns="" xmlns:p14="http://schemas.microsoft.com/office/powerpoint/2010/main" val="39848418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nium </a:t>
            </a:r>
            <a:r>
              <a:rPr lang="en-US" dirty="0" err="1" smtClean="0"/>
              <a:t>WebDriver</a:t>
            </a:r>
            <a:r>
              <a:rPr lang="en-US" dirty="0" smtClean="0"/>
              <a:t> – Jenkins dashboard </a:t>
            </a:r>
            <a:endParaRPr lang="en-US" dirty="0"/>
          </a:p>
        </p:txBody>
      </p:sp>
      <p:pic>
        <p:nvPicPr>
          <p:cNvPr id="6" name="Content Placeholder 5"/>
          <p:cNvPicPr>
            <a:picLocks noGrp="1" noChangeAspect="1"/>
          </p:cNvPicPr>
          <p:nvPr>
            <p:ph idx="1"/>
          </p:nvPr>
        </p:nvPicPr>
        <p:blipFill>
          <a:blip r:embed="rId2" cstate="print">
            <a:extLst>
              <a:ext uri="{28A0092B-C50C-407E-A947-70E740481C1C}">
                <a14:useLocalDpi xmlns="" xmlns:a14="http://schemas.microsoft.com/office/drawing/2010/main" val="0"/>
              </a:ext>
            </a:extLst>
          </a:blip>
          <a:stretch>
            <a:fillRect/>
          </a:stretch>
        </p:blipFill>
        <p:spPr>
          <a:xfrm>
            <a:off x="488154" y="1555823"/>
            <a:ext cx="8747286" cy="4568952"/>
          </a:xfrm>
          <a:prstGeom prst="rect">
            <a:avLst/>
          </a:prstGeom>
          <a:noFill/>
          <a:ln>
            <a:noFill/>
          </a:ln>
        </p:spPr>
      </p:pic>
    </p:spTree>
    <p:extLst>
      <p:ext uri="{BB962C8B-B14F-4D97-AF65-F5344CB8AC3E}">
        <p14:creationId xmlns="" xmlns:p14="http://schemas.microsoft.com/office/powerpoint/2010/main" val="24011245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nium </a:t>
            </a:r>
            <a:r>
              <a:rPr lang="en-US" dirty="0" err="1" smtClean="0"/>
              <a:t>WebDriver</a:t>
            </a:r>
            <a:r>
              <a:rPr lang="en-US" dirty="0" smtClean="0"/>
              <a:t> – Jenkins TestNG Result</a:t>
            </a:r>
            <a:endParaRPr lang="en-US" dirty="0"/>
          </a:p>
        </p:txBody>
      </p:sp>
      <p:pic>
        <p:nvPicPr>
          <p:cNvPr id="4" name="Content Placeholder 3"/>
          <p:cNvPicPr>
            <a:picLocks noGrp="1" noChangeAspect="1"/>
          </p:cNvPicPr>
          <p:nvPr>
            <p:ph idx="1"/>
          </p:nvPr>
        </p:nvPicPr>
        <p:blipFill>
          <a:blip r:embed="rId2" cstate="screen">
            <a:extLst>
              <a:ext uri="{BEBA8EAE-BF5A-486C-A8C5-ECC9F3942E4B}">
                <a14:imgProps xmlns="" xmlns:a14="http://schemas.microsoft.com/office/drawing/2010/main">
                  <a14:imgLayer r:embed="rId3">
                    <a14:imgEffect>
                      <a14:sharpenSoften amount="50000"/>
                    </a14:imgEffect>
                    <a14:imgEffect>
                      <a14:colorTemperature colorTemp="5900"/>
                    </a14:imgEffect>
                  </a14:imgLayer>
                </a14:imgProps>
              </a:ext>
              <a:ext uri="{28A0092B-C50C-407E-A947-70E740481C1C}">
                <a14:useLocalDpi xmlns="" xmlns:a14="http://schemas.microsoft.com/office/drawing/2010/main"/>
              </a:ext>
            </a:extLst>
          </a:blip>
          <a:stretch>
            <a:fillRect/>
          </a:stretch>
        </p:blipFill>
        <p:spPr>
          <a:xfrm>
            <a:off x="461886" y="1486281"/>
            <a:ext cx="8645537" cy="4643438"/>
          </a:xfrm>
          <a:prstGeom prst="rect">
            <a:avLst/>
          </a:prstGeom>
          <a:noFill/>
          <a:ln>
            <a:noFill/>
          </a:ln>
        </p:spPr>
      </p:pic>
    </p:spTree>
    <p:extLst>
      <p:ext uri="{BB962C8B-B14F-4D97-AF65-F5344CB8AC3E}">
        <p14:creationId xmlns="" xmlns:p14="http://schemas.microsoft.com/office/powerpoint/2010/main" val="201494705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7154" name="think-cell Slide" r:id="rId4" imgW="360" imgH="360" progId="">
              <p:embed/>
            </p:oleObj>
          </a:graphicData>
        </a:graphic>
      </p:graphicFrame>
      <p:sp>
        <p:nvSpPr>
          <p:cNvPr id="2" name="Titre 1"/>
          <p:cNvSpPr>
            <a:spLocks noGrp="1"/>
          </p:cNvSpPr>
          <p:nvPr>
            <p:ph type="title"/>
            <p:custDataLst>
              <p:tags r:id="rId2"/>
            </p:custDataLst>
          </p:nvPr>
        </p:nvSpPr>
        <p:spPr/>
        <p:txBody>
          <a:bodyPr/>
          <a:lstStyle/>
          <a:p>
            <a:r>
              <a:rPr lang="en-GB" dirty="0" smtClean="0"/>
              <a:t>Project Scope – Test Case wise.</a:t>
            </a:r>
            <a:endParaRPr lang="en-GB" dirty="0"/>
          </a:p>
        </p:txBody>
      </p:sp>
      <p:sp>
        <p:nvSpPr>
          <p:cNvPr id="6" name="Rounded Rectangle 5"/>
          <p:cNvSpPr/>
          <p:nvPr/>
        </p:nvSpPr>
        <p:spPr bwMode="auto">
          <a:xfrm>
            <a:off x="626076" y="1375719"/>
            <a:ext cx="4555524" cy="4843849"/>
          </a:xfrm>
          <a:prstGeom prst="roundRect">
            <a:avLst>
              <a:gd name="adj" fmla="val 2219"/>
            </a:avLst>
          </a:prstGeom>
          <a:solidFill>
            <a:schemeClr val="bg1">
              <a:lumMod val="95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t"/>
          <a:lstStyle/>
          <a:p>
            <a:pPr marL="347663" lvl="2" indent="-166189" defTabSz="914342">
              <a:lnSpc>
                <a:spcPct val="90000"/>
              </a:lnSpc>
              <a:spcAft>
                <a:spcPts val="600"/>
              </a:spcAft>
              <a:buClr>
                <a:schemeClr val="accent5"/>
              </a:buClr>
              <a:buFont typeface="Wingdings" pitchFamily="2" charset="2"/>
              <a:buChar char="v"/>
              <a:defRPr/>
            </a:pPr>
            <a:r>
              <a:rPr lang="en-GB" sz="1000" dirty="0" smtClean="0">
                <a:solidFill>
                  <a:schemeClr val="tx1"/>
                </a:solidFill>
              </a:rPr>
              <a:t>For test automation of End To End testing we have considered the below mentioned 22 test scenarios which will give 45% coverage for the 9 modules considered in scope  :-</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Verify that the newly created card details are as per the Templates codes defined, considering 18 products in scope and also check for the profiles.</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e embossing file layout when a new card is created.                                                 </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e embossing file when an existing card is  Renewed/Replace/Reissued                 </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e posting of (Sales) transaction to a card and verifying it in Customer Services /Transaction Management  </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e posting of CR / DB Adjustment transactions to a card and verifying it in Customer Services /Transaction Management </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e fee transactions posted to an account based on the profiles defined in Global Parameters considering two products in scope .</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e posting of payments through Standard Transaction file / Manual Transactions.</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e Statement generation for a NORM card and check for the layout of Electronic Statement file.</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e contents of transactions like Fee, Sales , Adjustments, Payments &amp; Interest  in the   Statement generated.</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Verify that the statement is not generated for Close / DCAC accounts.  </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Verify that the Account is moved to collection (i.e. NORM --&gt; REM1) for missed payments</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at the Account is moved to collection (i.e. REM1 --&gt; REM2) for missed payments</a:t>
            </a:r>
          </a:p>
        </p:txBody>
      </p:sp>
      <p:sp>
        <p:nvSpPr>
          <p:cNvPr id="5" name="Rounded Rectangle 4"/>
          <p:cNvSpPr/>
          <p:nvPr/>
        </p:nvSpPr>
        <p:spPr bwMode="auto">
          <a:xfrm>
            <a:off x="5321632" y="1372519"/>
            <a:ext cx="4390780" cy="4855285"/>
          </a:xfrm>
          <a:prstGeom prst="roundRect">
            <a:avLst>
              <a:gd name="adj" fmla="val 2219"/>
            </a:avLst>
          </a:prstGeom>
          <a:solidFill>
            <a:schemeClr val="bg1">
              <a:lumMod val="95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t"/>
          <a:lstStyle/>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Verify that the Account is moved to collection (i.e. REM2 --&gt; REM3) for missed payments</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at the Account is moved from collection (i.e. REM3 --&gt; REM2) when done payments.</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at the Account is moved from collection (i.e. REM2 --&gt; REM1) when done payments.</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at the Account is moved from collection (i.e. REM1 --&gt; NORM) when done payments</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e flow of making a dispute transactions.(i.e. chargeback)</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e Installment Transaction creation through Application and complete flow up to closure.</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e functionality of Auto Account closure</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e Direct Debit functionality.</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e Balance Transfer functionality.</a:t>
            </a:r>
          </a:p>
          <a:p>
            <a:pPr marL="347663" lvl="2" indent="-166189" defTabSz="914342">
              <a:lnSpc>
                <a:spcPct val="90000"/>
              </a:lnSpc>
              <a:spcAft>
                <a:spcPts val="600"/>
              </a:spcAft>
              <a:buClr>
                <a:schemeClr val="accent5"/>
              </a:buClr>
              <a:buFont typeface="Wingdings" pitchFamily="2" charset="2"/>
              <a:buChar char="§"/>
              <a:defRPr/>
            </a:pPr>
            <a:r>
              <a:rPr lang="en-US" sz="1000" dirty="0" smtClean="0">
                <a:solidFill>
                  <a:schemeClr val="tx1"/>
                </a:solidFill>
              </a:rPr>
              <a:t> Verify the functionality of Auto Write off.</a:t>
            </a:r>
          </a:p>
          <a:p>
            <a:pPr marL="347663" lvl="2" indent="-166189" defTabSz="914342">
              <a:lnSpc>
                <a:spcPct val="90000"/>
              </a:lnSpc>
              <a:spcAft>
                <a:spcPts val="600"/>
              </a:spcAft>
              <a:buClr>
                <a:schemeClr val="accent5"/>
              </a:buClr>
              <a:defRPr/>
            </a:pPr>
            <a:endParaRPr lang="en-US" sz="1000" dirty="0" smtClean="0">
              <a:solidFill>
                <a:schemeClr val="tx1"/>
              </a:solidFill>
            </a:endParaRPr>
          </a:p>
          <a:p>
            <a:pPr marL="347663" lvl="2" indent="-166189" defTabSz="914342">
              <a:lnSpc>
                <a:spcPct val="90000"/>
              </a:lnSpc>
              <a:spcAft>
                <a:spcPts val="600"/>
              </a:spcAft>
              <a:buClr>
                <a:schemeClr val="accent5"/>
              </a:buClr>
              <a:buFont typeface="Wingdings" pitchFamily="2" charset="2"/>
              <a:buChar char="v"/>
              <a:defRPr/>
            </a:pPr>
            <a:r>
              <a:rPr lang="en-US" sz="1000" dirty="0" smtClean="0">
                <a:solidFill>
                  <a:schemeClr val="tx1"/>
                </a:solidFill>
              </a:rPr>
              <a:t>For test automation of Regression Test cases we have considered 324 scripts as a scope which gives 100% coverage of all 9 modules.</a:t>
            </a:r>
            <a:r>
              <a:rPr lang="en-GB" sz="1000" dirty="0" smtClean="0">
                <a:solidFill>
                  <a:schemeClr val="tx1"/>
                </a:solidFill>
              </a:rPr>
              <a:t> </a:t>
            </a:r>
            <a:endParaRPr lang="en-GB" sz="1000" dirty="0">
              <a:solidFill>
                <a:schemeClr val="tx1"/>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utomation Strategy </a:t>
            </a:r>
            <a:endParaRPr lang="en-US" dirty="0"/>
          </a:p>
        </p:txBody>
      </p:sp>
      <p:pic>
        <p:nvPicPr>
          <p:cNvPr id="4" name="Picture 23" descr="https://entercard.atlassian.net/wiki/download/attachments/188145137/image2017-5-23_13-1-28.png?version=1&amp;modificationDate=1495524692407&amp;cacheVersion=1&amp;api=v2&amp;effects=border-simple,shadow-kn"/>
          <p:cNvPicPr>
            <a:picLocks noChangeAspect="1" noChangeArrowheads="1"/>
          </p:cNvPicPr>
          <p:nvPr/>
        </p:nvPicPr>
        <p:blipFill>
          <a:blip r:embed="rId2" cstate="print"/>
          <a:srcRect/>
          <a:stretch>
            <a:fillRect/>
          </a:stretch>
        </p:blipFill>
        <p:spPr bwMode="auto">
          <a:xfrm>
            <a:off x="288321" y="2042984"/>
            <a:ext cx="4637906" cy="4209535"/>
          </a:xfrm>
          <a:prstGeom prst="rect">
            <a:avLst/>
          </a:prstGeom>
          <a:noFill/>
        </p:spPr>
      </p:pic>
      <p:sp>
        <p:nvSpPr>
          <p:cNvPr id="5" name="Rounded Rectangle 4"/>
          <p:cNvSpPr/>
          <p:nvPr/>
        </p:nvSpPr>
        <p:spPr bwMode="auto">
          <a:xfrm>
            <a:off x="1005013" y="1161536"/>
            <a:ext cx="7875375" cy="766120"/>
          </a:xfrm>
          <a:prstGeom prst="roundRect">
            <a:avLst>
              <a:gd name="adj" fmla="val 2219"/>
            </a:avLst>
          </a:prstGeom>
          <a:solidFill>
            <a:schemeClr val="bg1">
              <a:lumMod val="95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t"/>
          <a:lstStyle/>
          <a:p>
            <a:pPr marL="173736" indent="-166189" defTabSz="914342">
              <a:lnSpc>
                <a:spcPct val="90000"/>
              </a:lnSpc>
              <a:spcAft>
                <a:spcPts val="600"/>
              </a:spcAft>
              <a:buClr>
                <a:schemeClr val="accent5"/>
              </a:buClr>
              <a:buFont typeface="Wingdings" pitchFamily="2" charset="2"/>
              <a:buChar char="v"/>
              <a:defRPr/>
            </a:pPr>
            <a:r>
              <a:rPr lang="en-US" sz="1200" noProof="1" smtClean="0">
                <a:solidFill>
                  <a:schemeClr val="tx1"/>
                </a:solidFill>
              </a:rPr>
              <a:t>Automation Strategy </a:t>
            </a:r>
          </a:p>
          <a:p>
            <a:pPr marL="652614" lvl="1" indent="-166189" defTabSz="914342">
              <a:lnSpc>
                <a:spcPct val="90000"/>
              </a:lnSpc>
              <a:spcAft>
                <a:spcPts val="600"/>
              </a:spcAft>
              <a:buClr>
                <a:schemeClr val="accent5"/>
              </a:buClr>
              <a:buFont typeface="Wingdings" pitchFamily="2" charset="2"/>
              <a:buChar char="§"/>
              <a:defRPr/>
            </a:pPr>
            <a:r>
              <a:rPr lang="en-US" sz="1200" noProof="1" smtClean="0">
                <a:solidFill>
                  <a:schemeClr val="tx1"/>
                </a:solidFill>
              </a:rPr>
              <a:t>Itetrative development. </a:t>
            </a:r>
          </a:p>
          <a:p>
            <a:pPr marL="652614" lvl="1" indent="-166189" defTabSz="914342">
              <a:lnSpc>
                <a:spcPct val="90000"/>
              </a:lnSpc>
              <a:spcAft>
                <a:spcPts val="600"/>
              </a:spcAft>
              <a:buClr>
                <a:schemeClr val="accent5"/>
              </a:buClr>
              <a:buFont typeface="Wingdings" pitchFamily="2" charset="2"/>
              <a:buChar char="§"/>
              <a:defRPr/>
            </a:pPr>
            <a:r>
              <a:rPr lang="en-US" sz="1200" noProof="1" smtClean="0">
                <a:solidFill>
                  <a:schemeClr val="tx1"/>
                </a:solidFill>
              </a:rPr>
              <a:t>Feedback based development. </a:t>
            </a:r>
          </a:p>
          <a:p>
            <a:pPr marL="173736" indent="-166189" defTabSz="914342">
              <a:lnSpc>
                <a:spcPct val="90000"/>
              </a:lnSpc>
              <a:spcAft>
                <a:spcPts val="600"/>
              </a:spcAft>
              <a:buClr>
                <a:schemeClr val="accent5"/>
              </a:buClr>
              <a:defRPr/>
            </a:pPr>
            <a:endParaRPr lang="en-GB" sz="1200" dirty="0" smtClean="0">
              <a:solidFill>
                <a:schemeClr val="tx2">
                  <a:lumMod val="50000"/>
                </a:schemeClr>
              </a:solidFill>
            </a:endParaRPr>
          </a:p>
          <a:p>
            <a:pPr marL="173736" indent="-173736">
              <a:spcBef>
                <a:spcPts val="300"/>
              </a:spcBef>
              <a:spcAft>
                <a:spcPts val="300"/>
              </a:spcAft>
              <a:buClr>
                <a:schemeClr val="accent5"/>
              </a:buClr>
              <a:buFont typeface="Wingdings" pitchFamily="2" charset="2"/>
              <a:buChar char="§"/>
              <a:defRPr/>
            </a:pPr>
            <a:endParaRPr lang="en-GB" sz="1200" noProof="1" smtClean="0">
              <a:solidFill>
                <a:schemeClr val="tx2">
                  <a:lumMod val="50000"/>
                </a:schemeClr>
              </a:solidFill>
            </a:endParaRPr>
          </a:p>
        </p:txBody>
      </p:sp>
      <p:pic>
        <p:nvPicPr>
          <p:cNvPr id="6" name="Object 2"/>
          <p:cNvPicPr>
            <a:picLocks noChangeArrowheads="1"/>
          </p:cNvPicPr>
          <p:nvPr/>
        </p:nvPicPr>
        <p:blipFill>
          <a:blip r:embed="rId3" cstate="print"/>
          <a:srcRect b="-156"/>
          <a:stretch>
            <a:fillRect/>
          </a:stretch>
        </p:blipFill>
        <p:spPr bwMode="auto">
          <a:xfrm>
            <a:off x="5049078" y="2150074"/>
            <a:ext cx="4856922" cy="382235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37238" name="think-cell Slide" r:id="rId4" imgW="360" imgH="360" progId="">
              <p:embed/>
            </p:oleObj>
          </a:graphicData>
        </a:graphic>
      </p:graphicFrame>
      <p:sp>
        <p:nvSpPr>
          <p:cNvPr id="2" name="Titre 1"/>
          <p:cNvSpPr>
            <a:spLocks noGrp="1"/>
          </p:cNvSpPr>
          <p:nvPr>
            <p:ph type="title"/>
            <p:custDataLst>
              <p:tags r:id="rId2"/>
            </p:custDataLst>
          </p:nvPr>
        </p:nvSpPr>
        <p:spPr/>
        <p:txBody>
          <a:bodyPr/>
          <a:lstStyle/>
          <a:p>
            <a:r>
              <a:rPr lang="en-GB" dirty="0" smtClean="0"/>
              <a:t>Contents</a:t>
            </a:r>
            <a:endParaRPr lang="en-GB" dirty="0"/>
          </a:p>
        </p:txBody>
      </p:sp>
      <p:sp>
        <p:nvSpPr>
          <p:cNvPr id="6" name="Content Placeholder 7"/>
          <p:cNvSpPr txBox="1">
            <a:spLocks/>
          </p:cNvSpPr>
          <p:nvPr/>
        </p:nvSpPr>
        <p:spPr>
          <a:xfrm>
            <a:off x="3163329" y="2202833"/>
            <a:ext cx="3871785" cy="2755352"/>
          </a:xfrm>
          <a:prstGeom prst="rect">
            <a:avLst/>
          </a:prstGeom>
        </p:spPr>
        <p:txBody>
          <a:bodyPr vert="horz" wrap="square" lIns="108000" tIns="72000" rIns="72000" bIns="72000" rtlCol="0">
            <a:spAutoFit/>
          </a:bodyPr>
          <a:lstStyle/>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r>
              <a:rPr kumimoji="0" lang="en-GB" sz="1600" b="0" i="0" u="none" strike="noStrike" kern="1200" cap="none" spc="0" normalizeH="0" baseline="0" noProof="0" dirty="0" smtClean="0">
                <a:ln>
                  <a:noFill/>
                </a:ln>
                <a:solidFill>
                  <a:schemeClr val="tx2">
                    <a:lumMod val="50000"/>
                  </a:schemeClr>
                </a:solidFill>
                <a:effectLst/>
                <a:uLnTx/>
                <a:uFillTx/>
                <a:latin typeface="+mn-lt"/>
                <a:ea typeface="+mn-ea"/>
                <a:cs typeface="+mn-cs"/>
              </a:rPr>
              <a:t>Executive Summary</a:t>
            </a:r>
          </a:p>
          <a:p>
            <a:pPr marL="166189" lvl="0" indent="-166189" defTabSz="914342">
              <a:lnSpc>
                <a:spcPct val="90000"/>
              </a:lnSpc>
              <a:spcAft>
                <a:spcPts val="600"/>
              </a:spcAft>
              <a:buClr>
                <a:schemeClr val="accent5"/>
              </a:buClr>
              <a:buFont typeface="Wingdings" pitchFamily="2" charset="2"/>
              <a:buChar char="§"/>
              <a:defRPr/>
            </a:pPr>
            <a:r>
              <a:rPr lang="en-GB" sz="1600" dirty="0" smtClean="0">
                <a:solidFill>
                  <a:schemeClr val="tx2">
                    <a:lumMod val="50000"/>
                  </a:schemeClr>
                </a:solidFill>
              </a:rPr>
              <a:t>Automation </a:t>
            </a:r>
            <a:r>
              <a:rPr lang="en-GB" sz="1600" dirty="0" smtClean="0">
                <a:solidFill>
                  <a:schemeClr val="tx2">
                    <a:lumMod val="50000"/>
                  </a:schemeClr>
                </a:solidFill>
              </a:rPr>
              <a:t> </a:t>
            </a:r>
            <a:r>
              <a:rPr lang="en-GB" sz="1600" dirty="0" smtClean="0">
                <a:solidFill>
                  <a:schemeClr val="tx2">
                    <a:lumMod val="50000"/>
                  </a:schemeClr>
                </a:solidFill>
              </a:rPr>
              <a:t>– </a:t>
            </a:r>
            <a:r>
              <a:rPr lang="en-GB" sz="1600" dirty="0" smtClean="0">
                <a:solidFill>
                  <a:schemeClr val="tx2">
                    <a:lumMod val="50000"/>
                  </a:schemeClr>
                </a:solidFill>
              </a:rPr>
              <a:t>PRIME Applications</a:t>
            </a:r>
          </a:p>
          <a:p>
            <a:pPr marL="166189" lvl="0" indent="-166189" defTabSz="914342">
              <a:lnSpc>
                <a:spcPct val="90000"/>
              </a:lnSpc>
              <a:spcAft>
                <a:spcPts val="600"/>
              </a:spcAft>
              <a:buClr>
                <a:schemeClr val="accent5"/>
              </a:buClr>
              <a:buFont typeface="Wingdings" pitchFamily="2" charset="2"/>
              <a:buChar char="§"/>
              <a:defRPr/>
            </a:pPr>
            <a:r>
              <a:rPr lang="en-GB" sz="1600" dirty="0" smtClean="0">
                <a:solidFill>
                  <a:schemeClr val="tx2">
                    <a:lumMod val="50000"/>
                  </a:schemeClr>
                </a:solidFill>
              </a:rPr>
              <a:t>Automation approach</a:t>
            </a:r>
          </a:p>
          <a:p>
            <a:pPr marL="166189" lvl="0" indent="-166189" defTabSz="914342">
              <a:lnSpc>
                <a:spcPct val="90000"/>
              </a:lnSpc>
              <a:spcAft>
                <a:spcPts val="600"/>
              </a:spcAft>
              <a:buClr>
                <a:schemeClr val="accent5"/>
              </a:buClr>
              <a:buFont typeface="Wingdings" pitchFamily="2" charset="2"/>
              <a:buChar char="§"/>
              <a:defRPr/>
            </a:pPr>
            <a:r>
              <a:rPr lang="en-GB" sz="1600" dirty="0" smtClean="0">
                <a:solidFill>
                  <a:schemeClr val="tx2">
                    <a:lumMod val="50000"/>
                  </a:schemeClr>
                </a:solidFill>
              </a:rPr>
              <a:t>Tools </a:t>
            </a:r>
            <a:r>
              <a:rPr lang="en-GB" sz="1600" dirty="0" smtClean="0">
                <a:solidFill>
                  <a:schemeClr val="tx2">
                    <a:lumMod val="50000"/>
                  </a:schemeClr>
                </a:solidFill>
              </a:rPr>
              <a:t>&amp; Framework</a:t>
            </a:r>
          </a:p>
          <a:p>
            <a:pPr marL="166189" lvl="0" indent="-166189" defTabSz="914342">
              <a:lnSpc>
                <a:spcPct val="90000"/>
              </a:lnSpc>
              <a:spcAft>
                <a:spcPts val="600"/>
              </a:spcAft>
              <a:buClr>
                <a:schemeClr val="accent5"/>
              </a:buClr>
              <a:buFont typeface="Wingdings" pitchFamily="2" charset="2"/>
              <a:buChar char="§"/>
              <a:defRPr/>
            </a:pPr>
            <a:r>
              <a:rPr lang="en-GB" sz="1600" dirty="0" smtClean="0">
                <a:solidFill>
                  <a:schemeClr val="tx2">
                    <a:lumMod val="50000"/>
                  </a:schemeClr>
                </a:solidFill>
              </a:rPr>
              <a:t>Automation Plan</a:t>
            </a:r>
          </a:p>
          <a:p>
            <a:pPr marL="166189" lvl="0" indent="-166189" defTabSz="914342">
              <a:lnSpc>
                <a:spcPct val="90000"/>
              </a:lnSpc>
              <a:spcAft>
                <a:spcPts val="600"/>
              </a:spcAft>
              <a:buClr>
                <a:schemeClr val="accent5"/>
              </a:buClr>
              <a:buFont typeface="Wingdings" pitchFamily="2" charset="2"/>
              <a:buChar char="§"/>
              <a:defRPr/>
            </a:pPr>
            <a:r>
              <a:rPr lang="en-US" sz="1600" dirty="0" smtClean="0">
                <a:solidFill>
                  <a:schemeClr val="tx2">
                    <a:lumMod val="50000"/>
                  </a:schemeClr>
                </a:solidFill>
              </a:rPr>
              <a:t>Status update</a:t>
            </a:r>
            <a:endParaRPr lang="en-US" sz="1600" dirty="0" smtClean="0">
              <a:solidFill>
                <a:schemeClr val="tx2">
                  <a:lumMod val="50000"/>
                </a:schemeClr>
              </a:solidFill>
            </a:endParaRPr>
          </a:p>
          <a:p>
            <a:pPr marL="166189" lvl="0" indent="-166189" defTabSz="914342">
              <a:lnSpc>
                <a:spcPct val="90000"/>
              </a:lnSpc>
              <a:spcAft>
                <a:spcPts val="600"/>
              </a:spcAft>
              <a:buClr>
                <a:schemeClr val="accent5"/>
              </a:buClr>
              <a:buFont typeface="Wingdings" pitchFamily="2" charset="2"/>
              <a:buChar char="§"/>
              <a:defRPr/>
            </a:pPr>
            <a:r>
              <a:rPr lang="en-US" sz="1600" dirty="0" smtClean="0">
                <a:solidFill>
                  <a:schemeClr val="tx2">
                    <a:lumMod val="50000"/>
                  </a:schemeClr>
                </a:solidFill>
              </a:rPr>
              <a:t>Demo</a:t>
            </a:r>
          </a:p>
          <a:p>
            <a:pPr marL="166189" lvl="0" indent="-166189" defTabSz="914342">
              <a:lnSpc>
                <a:spcPct val="90000"/>
              </a:lnSpc>
              <a:spcAft>
                <a:spcPts val="600"/>
              </a:spcAft>
              <a:buClr>
                <a:schemeClr val="accent5"/>
              </a:buClr>
              <a:buFont typeface="Wingdings" pitchFamily="2" charset="2"/>
              <a:buChar char="§"/>
              <a:defRPr/>
            </a:pPr>
            <a:r>
              <a:rPr lang="en-US" sz="1600" dirty="0" smtClean="0">
                <a:solidFill>
                  <a:schemeClr val="tx2">
                    <a:lumMod val="50000"/>
                  </a:schemeClr>
                </a:solidFill>
              </a:rPr>
              <a:t>Appendix </a:t>
            </a:r>
            <a:endParaRPr lang="en-GB" sz="1600" dirty="0" smtClean="0">
              <a:solidFill>
                <a:schemeClr val="tx2">
                  <a:lumMod val="50000"/>
                </a:schemeClr>
              </a:solidFill>
            </a:endParaRPr>
          </a:p>
          <a:p>
            <a:pPr marL="166189" marR="0" lvl="0" indent="-166189" algn="l" defTabSz="914342" rtl="0" eaLnBrk="1" fontAlgn="auto" latinLnBrk="0" hangingPunct="1">
              <a:lnSpc>
                <a:spcPct val="90000"/>
              </a:lnSpc>
              <a:spcBef>
                <a:spcPts val="0"/>
              </a:spcBef>
              <a:spcAft>
                <a:spcPts val="600"/>
              </a:spcAft>
              <a:buClr>
                <a:schemeClr val="accent5"/>
              </a:buClr>
              <a:buSzTx/>
              <a:tabLst/>
              <a:defRPr/>
            </a:pPr>
            <a:endParaRPr kumimoji="0" lang="en-GB" sz="16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ank You</a:t>
            </a:r>
            <a:endParaRPr lang="en-GB" dirty="0"/>
          </a:p>
        </p:txBody>
      </p:sp>
      <p:sp>
        <p:nvSpPr>
          <p:cNvPr id="3" name="TextBox 2"/>
          <p:cNvSpPr txBox="1"/>
          <p:nvPr/>
        </p:nvSpPr>
        <p:spPr>
          <a:xfrm>
            <a:off x="6492240" y="4858173"/>
            <a:ext cx="3162123" cy="1692771"/>
          </a:xfrm>
          <a:prstGeom prst="rect">
            <a:avLst/>
          </a:prstGeom>
          <a:noFill/>
        </p:spPr>
        <p:txBody>
          <a:bodyPr wrap="square" rtlCol="0">
            <a:spAutoFit/>
          </a:bodyPr>
          <a:lstStyle/>
          <a:p>
            <a:pPr algn="just"/>
            <a:r>
              <a:rPr lang="en-GB" sz="800" dirty="0" smtClean="0">
                <a:solidFill>
                  <a:schemeClr val="tx1">
                    <a:lumMod val="90000"/>
                    <a:lumOff val="10000"/>
                  </a:schemeClr>
                </a:solidFill>
              </a:rPr>
              <a:t>Neither submission by Capgemini nor your acceptance of this proposal, in whole or in part, constitutes acceptance by Capgemini of any contractual terms contained in your Request for Proposal, if any, and shall not form a binding agreement between the parties. Such an agreement shall only exist upon the execution of a mutually acceptable contract by both parties. Except as otherwise set forth in such a contract, Capgemini makes no representations or warranties to you in relation to the accuracy or completeness of any information or data provided in the proposal. The term “Capgemini” appearing elsewhere in this proposal may refer to Capgemini, or to one or more of the subsidiaries or affiliates of Capgemini. </a:t>
            </a:r>
            <a:endParaRPr lang="en-US" sz="800" dirty="0" smtClean="0">
              <a:solidFill>
                <a:schemeClr val="tx1">
                  <a:lumMod val="90000"/>
                  <a:lumOff val="10000"/>
                </a:schemeClr>
              </a:solidFill>
            </a:endParaRPr>
          </a:p>
          <a:p>
            <a:pPr algn="just"/>
            <a:r>
              <a:rPr lang="en-GB" sz="800" dirty="0" smtClean="0">
                <a:solidFill>
                  <a:schemeClr val="tx1">
                    <a:lumMod val="90000"/>
                    <a:lumOff val="10000"/>
                  </a:schemeClr>
                </a:solidFill>
              </a:rPr>
              <a:t>Copyright© 2013. Capgemini. </a:t>
            </a:r>
            <a:endParaRPr lang="en-US" sz="800" dirty="0" smtClean="0">
              <a:solidFill>
                <a:schemeClr val="tx1">
                  <a:lumMod val="90000"/>
                  <a:lumOff val="10000"/>
                </a:schemeClr>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4" name="TextBox 33"/>
          <p:cNvSpPr txBox="1"/>
          <p:nvPr/>
        </p:nvSpPr>
        <p:spPr>
          <a:xfrm>
            <a:off x="8392322" y="2643136"/>
            <a:ext cx="2294562" cy="276999"/>
          </a:xfrm>
          <a:prstGeom prst="rect">
            <a:avLst/>
          </a:prstGeom>
          <a:noFill/>
        </p:spPr>
        <p:txBody>
          <a:bodyPr wrap="square" rtlCol="0">
            <a:spAutoFit/>
          </a:bodyPr>
          <a:lstStyle/>
          <a:p>
            <a:pPr algn="ctr"/>
            <a:endParaRPr lang="en-US" sz="1200" b="1" dirty="0">
              <a:solidFill>
                <a:schemeClr val="tx2">
                  <a:lumMod val="50000"/>
                </a:schemeClr>
              </a:solidFill>
            </a:endParaRPr>
          </a:p>
        </p:txBody>
      </p:sp>
      <p:sp>
        <p:nvSpPr>
          <p:cNvPr id="36" name="Rectangle 35"/>
          <p:cNvSpPr/>
          <p:nvPr/>
        </p:nvSpPr>
        <p:spPr>
          <a:xfrm>
            <a:off x="852764" y="1368289"/>
            <a:ext cx="7158322" cy="276999"/>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a:spAutoFit/>
          </a:bodyPr>
          <a:lstStyle/>
          <a:p>
            <a:pPr marL="166189" lvl="2" indent="-166189">
              <a:buClr>
                <a:schemeClr val="accent5"/>
              </a:buClr>
              <a:buFont typeface="Wingdings" pitchFamily="2" charset="2"/>
              <a:buChar char="§"/>
            </a:pPr>
            <a:r>
              <a:rPr lang="en-GB" sz="1200" dirty="0" smtClean="0"/>
              <a:t>Here we talk </a:t>
            </a:r>
            <a:r>
              <a:rPr lang="en-GB" sz="1200" dirty="0" smtClean="0"/>
              <a:t>about the Automation Solution and </a:t>
            </a:r>
            <a:r>
              <a:rPr lang="en-GB" sz="1200" dirty="0" smtClean="0"/>
              <a:t>benefits </a:t>
            </a:r>
            <a:r>
              <a:rPr lang="en-GB" sz="1200" dirty="0" smtClean="0"/>
              <a:t>that can be </a:t>
            </a:r>
            <a:r>
              <a:rPr lang="en-GB" sz="1200" dirty="0" smtClean="0"/>
              <a:t>reaped in Long run</a:t>
            </a:r>
            <a:endParaRPr lang="en-US" sz="1200" dirty="0" smtClean="0"/>
          </a:p>
        </p:txBody>
      </p:sp>
      <p:grpSp>
        <p:nvGrpSpPr>
          <p:cNvPr id="39" name="Group 38"/>
          <p:cNvGrpSpPr/>
          <p:nvPr/>
        </p:nvGrpSpPr>
        <p:grpSpPr>
          <a:xfrm>
            <a:off x="207502" y="2026090"/>
            <a:ext cx="9495298" cy="3303711"/>
            <a:chOff x="207502" y="2302122"/>
            <a:chExt cx="9495298" cy="3303711"/>
          </a:xfrm>
        </p:grpSpPr>
        <p:sp>
          <p:nvSpPr>
            <p:cNvPr id="5" name="Rounded Rectangle 4"/>
            <p:cNvSpPr>
              <a:spLocks/>
            </p:cNvSpPr>
            <p:nvPr/>
          </p:nvSpPr>
          <p:spPr>
            <a:xfrm>
              <a:off x="233745" y="2506287"/>
              <a:ext cx="2524803" cy="3099546"/>
            </a:xfrm>
            <a:prstGeom prst="roundRect">
              <a:avLst>
                <a:gd name="adj" fmla="val 3427"/>
              </a:avLst>
            </a:prstGeom>
            <a:solidFill>
              <a:sysClr val="window" lastClr="FFFFFF">
                <a:lumMod val="95000"/>
              </a:sysClr>
            </a:solidFill>
            <a:ln w="19050">
              <a:noFill/>
              <a:miter lim="800000"/>
              <a:headEnd/>
              <a:tailEnd/>
            </a:ln>
            <a:effectLst>
              <a:outerShdw blurRad="50800" dist="38100" dir="2700000" algn="tl" rotWithShape="0">
                <a:prstClr val="black">
                  <a:alpha val="40000"/>
                </a:prstClr>
              </a:outerShdw>
            </a:effectLst>
          </p:spPr>
          <p:txBody>
            <a:bodyPr wrap="square" lIns="45678" tIns="45678" rIns="45678" bIns="45678" anchor="ctr">
              <a:noAutofit/>
            </a:bodyPr>
            <a:lstStyle/>
            <a:p>
              <a:pPr marL="171292" indent="-171292" defTabSz="913554">
                <a:spcAft>
                  <a:spcPts val="200"/>
                </a:spcAft>
                <a:buClr>
                  <a:srgbClr val="0098CC"/>
                </a:buClr>
                <a:buFont typeface="Arial" pitchFamily="34" charset="0"/>
                <a:buChar char="•"/>
                <a:defRPr/>
              </a:pPr>
              <a:endParaRPr lang="en-US" sz="1200" b="1" i="1" kern="0" dirty="0">
                <a:solidFill>
                  <a:schemeClr val="tx2">
                    <a:lumMod val="50000"/>
                  </a:schemeClr>
                </a:solidFill>
              </a:endParaRPr>
            </a:p>
          </p:txBody>
        </p:sp>
        <p:sp>
          <p:nvSpPr>
            <p:cNvPr id="6" name="Rounded Rectangle 5"/>
            <p:cNvSpPr>
              <a:spLocks/>
            </p:cNvSpPr>
            <p:nvPr/>
          </p:nvSpPr>
          <p:spPr>
            <a:xfrm>
              <a:off x="3165087" y="2506287"/>
              <a:ext cx="3045213" cy="3099546"/>
            </a:xfrm>
            <a:prstGeom prst="roundRect">
              <a:avLst>
                <a:gd name="adj" fmla="val 3427"/>
              </a:avLst>
            </a:prstGeom>
            <a:solidFill>
              <a:sysClr val="window" lastClr="FFFFFF">
                <a:lumMod val="95000"/>
              </a:sysClr>
            </a:solidFill>
            <a:ln w="19050">
              <a:noFill/>
              <a:miter lim="800000"/>
              <a:headEnd/>
              <a:tailEnd/>
            </a:ln>
            <a:effectLst>
              <a:outerShdw blurRad="50800" dist="38100" dir="2700000" algn="tl" rotWithShape="0">
                <a:prstClr val="black">
                  <a:alpha val="40000"/>
                </a:prstClr>
              </a:outerShdw>
            </a:effectLst>
          </p:spPr>
          <p:txBody>
            <a:bodyPr wrap="square" lIns="45678" tIns="45678" rIns="45678" bIns="45678" anchor="ctr">
              <a:noAutofit/>
            </a:bodyPr>
            <a:lstStyle/>
            <a:p>
              <a:pPr marL="171292" indent="-171292" defTabSz="913554">
                <a:spcAft>
                  <a:spcPts val="200"/>
                </a:spcAft>
                <a:buClr>
                  <a:srgbClr val="0098CC"/>
                </a:buClr>
                <a:buFont typeface="Arial" pitchFamily="34" charset="0"/>
                <a:buChar char="•"/>
                <a:defRPr/>
              </a:pPr>
              <a:endParaRPr lang="en-US" sz="1200" b="1" i="1" kern="0" dirty="0">
                <a:solidFill>
                  <a:schemeClr val="tx2">
                    <a:lumMod val="50000"/>
                  </a:schemeClr>
                </a:solidFill>
              </a:endParaRPr>
            </a:p>
          </p:txBody>
        </p:sp>
        <p:sp>
          <p:nvSpPr>
            <p:cNvPr id="8" name="Rounded Rectangle 7"/>
            <p:cNvSpPr/>
            <p:nvPr/>
          </p:nvSpPr>
          <p:spPr bwMode="auto">
            <a:xfrm>
              <a:off x="207502" y="2302122"/>
              <a:ext cx="2575911" cy="295685"/>
            </a:xfrm>
            <a:prstGeom prst="roundRect">
              <a:avLst>
                <a:gd name="adj" fmla="val 32804"/>
              </a:avLst>
            </a:prstGeom>
            <a:solidFill>
              <a:schemeClr val="accent5"/>
            </a:soli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91355" tIns="45678" rIns="91355" bIns="45678" numCol="1" rtlCol="0" anchor="ctr" anchorCtr="0" compatLnSpc="1">
              <a:prstTxWarp prst="textNoShape">
                <a:avLst/>
              </a:prstTxWarp>
            </a:bodyPr>
            <a:lstStyle/>
            <a:p>
              <a:pPr algn="ctr" defTabSz="913554" eaLnBrk="0" fontAlgn="base" hangingPunct="0">
                <a:spcBef>
                  <a:spcPct val="0"/>
                </a:spcBef>
                <a:spcAft>
                  <a:spcPct val="0"/>
                </a:spcAft>
                <a:defRPr/>
              </a:pPr>
              <a:r>
                <a:rPr lang="en-US" sz="1200" b="1" i="1" kern="0" dirty="0" smtClean="0">
                  <a:solidFill>
                    <a:schemeClr val="bg1"/>
                  </a:solidFill>
                  <a:cs typeface="Arial" charset="0"/>
                </a:rPr>
                <a:t>Challenges</a:t>
              </a:r>
              <a:endParaRPr lang="en-US" sz="1200" b="1" i="1" kern="0" dirty="0">
                <a:solidFill>
                  <a:schemeClr val="bg1"/>
                </a:solidFill>
                <a:cs typeface="Arial" charset="0"/>
              </a:endParaRPr>
            </a:p>
          </p:txBody>
        </p:sp>
        <p:sp>
          <p:nvSpPr>
            <p:cNvPr id="9" name="Rounded Rectangle 8"/>
            <p:cNvSpPr/>
            <p:nvPr/>
          </p:nvSpPr>
          <p:spPr bwMode="auto">
            <a:xfrm>
              <a:off x="3125047" y="2302122"/>
              <a:ext cx="3110653" cy="288677"/>
            </a:xfrm>
            <a:prstGeom prst="roundRect">
              <a:avLst>
                <a:gd name="adj" fmla="val 33863"/>
              </a:avLst>
            </a:prstGeom>
            <a:solidFill>
              <a:schemeClr val="accent5"/>
            </a:soli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91355" tIns="45678" rIns="91355" bIns="45678" numCol="1" rtlCol="0" anchor="ctr" anchorCtr="0" compatLnSpc="1">
              <a:prstTxWarp prst="textNoShape">
                <a:avLst/>
              </a:prstTxWarp>
            </a:bodyPr>
            <a:lstStyle/>
            <a:p>
              <a:pPr algn="ctr" defTabSz="913554" eaLnBrk="0" fontAlgn="base" hangingPunct="0">
                <a:spcBef>
                  <a:spcPct val="0"/>
                </a:spcBef>
                <a:spcAft>
                  <a:spcPct val="0"/>
                </a:spcAft>
                <a:defRPr/>
              </a:pPr>
              <a:r>
                <a:rPr lang="en-US" sz="1200" b="1" i="1" kern="0" dirty="0" smtClean="0">
                  <a:solidFill>
                    <a:schemeClr val="bg1"/>
                  </a:solidFill>
                  <a:cs typeface="Arial" charset="0"/>
                </a:rPr>
                <a:t>What EnterCard will </a:t>
              </a:r>
              <a:r>
                <a:rPr lang="en-US" sz="1200" b="1" i="1" kern="0" dirty="0">
                  <a:solidFill>
                    <a:schemeClr val="bg1"/>
                  </a:solidFill>
                  <a:cs typeface="Arial" charset="0"/>
                </a:rPr>
                <a:t>accomplish?</a:t>
              </a:r>
            </a:p>
          </p:txBody>
        </p:sp>
        <p:sp>
          <p:nvSpPr>
            <p:cNvPr id="11" name="Oval 10"/>
            <p:cNvSpPr/>
            <p:nvPr/>
          </p:nvSpPr>
          <p:spPr bwMode="auto">
            <a:xfrm>
              <a:off x="2885731" y="2393643"/>
              <a:ext cx="136997" cy="112643"/>
            </a:xfrm>
            <a:prstGeom prst="ellipse">
              <a:avLst/>
            </a:prstGeom>
            <a:solidFill>
              <a:schemeClr val="tx1"/>
            </a:solidFill>
            <a:ln w="3175"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91355" tIns="45678" rIns="91355" bIns="45678" numCol="1" rtlCol="0" anchor="ctr" anchorCtr="0" compatLnSpc="1">
              <a:prstTxWarp prst="textNoShape">
                <a:avLst/>
              </a:prstTxWarp>
            </a:bodyPr>
            <a:lstStyle/>
            <a:p>
              <a:pPr algn="ctr" defTabSz="913554" eaLnBrk="0" fontAlgn="base" hangingPunct="0">
                <a:spcBef>
                  <a:spcPct val="0"/>
                </a:spcBef>
                <a:spcAft>
                  <a:spcPct val="0"/>
                </a:spcAft>
                <a:defRPr/>
              </a:pPr>
              <a:endParaRPr lang="en-US" sz="1200" b="1" i="1" kern="0" dirty="0">
                <a:solidFill>
                  <a:schemeClr val="tx2">
                    <a:lumMod val="50000"/>
                  </a:schemeClr>
                </a:solidFill>
                <a:cs typeface="Arial" charset="0"/>
              </a:endParaRPr>
            </a:p>
          </p:txBody>
        </p:sp>
        <p:sp>
          <p:nvSpPr>
            <p:cNvPr id="12" name="Oval 11"/>
            <p:cNvSpPr/>
            <p:nvPr/>
          </p:nvSpPr>
          <p:spPr bwMode="auto">
            <a:xfrm>
              <a:off x="6363894" y="2393643"/>
              <a:ext cx="136997" cy="112643"/>
            </a:xfrm>
            <a:prstGeom prst="ellipse">
              <a:avLst/>
            </a:prstGeom>
            <a:solidFill>
              <a:schemeClr val="tx1"/>
            </a:solidFill>
            <a:ln w="3175"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91355" tIns="45678" rIns="91355" bIns="45678" numCol="1" rtlCol="0" anchor="ctr" anchorCtr="0" compatLnSpc="1">
              <a:prstTxWarp prst="textNoShape">
                <a:avLst/>
              </a:prstTxWarp>
            </a:bodyPr>
            <a:lstStyle/>
            <a:p>
              <a:pPr algn="ctr" defTabSz="913554" eaLnBrk="0" fontAlgn="base" hangingPunct="0">
                <a:spcBef>
                  <a:spcPct val="0"/>
                </a:spcBef>
                <a:spcAft>
                  <a:spcPct val="0"/>
                </a:spcAft>
                <a:defRPr/>
              </a:pPr>
              <a:endParaRPr lang="en-US" sz="1200" b="1" i="1" kern="0" dirty="0">
                <a:solidFill>
                  <a:schemeClr val="tx2">
                    <a:lumMod val="50000"/>
                  </a:schemeClr>
                </a:solidFill>
                <a:cs typeface="Arial" charset="0"/>
              </a:endParaRPr>
            </a:p>
          </p:txBody>
        </p:sp>
        <p:cxnSp>
          <p:nvCxnSpPr>
            <p:cNvPr id="13" name="Straight Connector 12"/>
            <p:cNvCxnSpPr>
              <a:stCxn id="8" idx="3"/>
              <a:endCxn id="11" idx="2"/>
            </p:cNvCxnSpPr>
            <p:nvPr/>
          </p:nvCxnSpPr>
          <p:spPr bwMode="auto">
            <a:xfrm>
              <a:off x="2783415" y="2449964"/>
              <a:ext cx="102317" cy="0"/>
            </a:xfrm>
            <a:prstGeom prst="line">
              <a:avLst/>
            </a:prstGeom>
            <a:solidFill>
              <a:srgbClr val="9F958F"/>
            </a:solidFill>
            <a:ln w="12700"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cxnSp>
        <p:cxnSp>
          <p:nvCxnSpPr>
            <p:cNvPr id="14" name="Straight Connector 13"/>
            <p:cNvCxnSpPr>
              <a:stCxn id="9" idx="1"/>
              <a:endCxn id="11" idx="6"/>
            </p:cNvCxnSpPr>
            <p:nvPr/>
          </p:nvCxnSpPr>
          <p:spPr bwMode="auto">
            <a:xfrm flipH="1">
              <a:off x="3022728" y="2446461"/>
              <a:ext cx="102319" cy="3504"/>
            </a:xfrm>
            <a:prstGeom prst="line">
              <a:avLst/>
            </a:prstGeom>
            <a:solidFill>
              <a:srgbClr val="9F958F"/>
            </a:solidFill>
            <a:ln w="12700"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cxnSp>
        <p:cxnSp>
          <p:nvCxnSpPr>
            <p:cNvPr id="15" name="Straight Connector 14"/>
            <p:cNvCxnSpPr>
              <a:stCxn id="9" idx="3"/>
              <a:endCxn id="12" idx="2"/>
            </p:cNvCxnSpPr>
            <p:nvPr/>
          </p:nvCxnSpPr>
          <p:spPr bwMode="auto">
            <a:xfrm>
              <a:off x="6235700" y="2446461"/>
              <a:ext cx="128194" cy="3504"/>
            </a:xfrm>
            <a:prstGeom prst="line">
              <a:avLst/>
            </a:prstGeom>
            <a:solidFill>
              <a:srgbClr val="9F958F"/>
            </a:solidFill>
            <a:ln w="12700"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cxnSp>
        <p:cxnSp>
          <p:nvCxnSpPr>
            <p:cNvPr id="16" name="Straight Connector 15"/>
            <p:cNvCxnSpPr>
              <a:endCxn id="12" idx="6"/>
            </p:cNvCxnSpPr>
            <p:nvPr/>
          </p:nvCxnSpPr>
          <p:spPr bwMode="auto">
            <a:xfrm flipH="1" flipV="1">
              <a:off x="6500891" y="2449965"/>
              <a:ext cx="179309" cy="1135"/>
            </a:xfrm>
            <a:prstGeom prst="line">
              <a:avLst/>
            </a:prstGeom>
            <a:solidFill>
              <a:srgbClr val="9F958F"/>
            </a:solidFill>
            <a:ln w="12700"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cxnSp>
        <p:sp>
          <p:nvSpPr>
            <p:cNvPr id="17" name="Rectangle 16"/>
            <p:cNvSpPr>
              <a:spLocks/>
            </p:cNvSpPr>
            <p:nvPr/>
          </p:nvSpPr>
          <p:spPr bwMode="auto">
            <a:xfrm>
              <a:off x="345384" y="3530418"/>
              <a:ext cx="2301524" cy="533582"/>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indent="-171292" algn="ctr" defTabSz="913554" fontAlgn="base">
                <a:spcBef>
                  <a:spcPct val="0"/>
                </a:spcBef>
                <a:spcAft>
                  <a:spcPts val="200"/>
                </a:spcAft>
                <a:buClr>
                  <a:srgbClr val="0098CC"/>
                </a:buClr>
              </a:pPr>
              <a:r>
                <a:rPr lang="en-US" sz="1200" i="1" kern="0" dirty="0" smtClean="0">
                  <a:solidFill>
                    <a:schemeClr val="tx2">
                      <a:lumMod val="50000"/>
                    </a:schemeClr>
                  </a:solidFill>
                </a:rPr>
                <a:t>Higher consumption of Manual efforts</a:t>
              </a:r>
              <a:endParaRPr lang="en-US" sz="1200" i="1" kern="0" dirty="0">
                <a:solidFill>
                  <a:schemeClr val="tx2">
                    <a:lumMod val="50000"/>
                  </a:schemeClr>
                </a:solidFill>
              </a:endParaRPr>
            </a:p>
          </p:txBody>
        </p:sp>
        <p:sp>
          <p:nvSpPr>
            <p:cNvPr id="18" name="Rectangle 17"/>
            <p:cNvSpPr>
              <a:spLocks/>
            </p:cNvSpPr>
            <p:nvPr/>
          </p:nvSpPr>
          <p:spPr bwMode="auto">
            <a:xfrm>
              <a:off x="345384" y="3000828"/>
              <a:ext cx="2301524" cy="494695"/>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indent="-171292" algn="ctr" defTabSz="913554" fontAlgn="base">
                <a:spcBef>
                  <a:spcPct val="0"/>
                </a:spcBef>
                <a:spcAft>
                  <a:spcPts val="200"/>
                </a:spcAft>
                <a:buClr>
                  <a:srgbClr val="0098CC"/>
                </a:buClr>
                <a:defRPr/>
              </a:pPr>
              <a:r>
                <a:rPr lang="en-US" sz="1200" i="1" kern="0" dirty="0" smtClean="0">
                  <a:solidFill>
                    <a:schemeClr val="tx2">
                      <a:lumMod val="50000"/>
                    </a:schemeClr>
                  </a:solidFill>
                </a:rPr>
                <a:t>Repetitive testing</a:t>
              </a:r>
              <a:endParaRPr lang="en-US" sz="1200" i="1" kern="0" dirty="0">
                <a:solidFill>
                  <a:schemeClr val="tx2">
                    <a:lumMod val="50000"/>
                  </a:schemeClr>
                </a:solidFill>
              </a:endParaRPr>
            </a:p>
          </p:txBody>
        </p:sp>
        <p:sp>
          <p:nvSpPr>
            <p:cNvPr id="19" name="Rectangle 18"/>
            <p:cNvSpPr>
              <a:spLocks/>
            </p:cNvSpPr>
            <p:nvPr/>
          </p:nvSpPr>
          <p:spPr bwMode="auto">
            <a:xfrm>
              <a:off x="345384" y="4127501"/>
              <a:ext cx="2301524" cy="419100"/>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indent="-171292" algn="ctr" defTabSz="913554" fontAlgn="base">
                <a:spcBef>
                  <a:spcPct val="0"/>
                </a:spcBef>
                <a:spcAft>
                  <a:spcPts val="200"/>
                </a:spcAft>
                <a:buClr>
                  <a:srgbClr val="0098CC"/>
                </a:buClr>
                <a:defRPr/>
              </a:pPr>
              <a:r>
                <a:rPr lang="en-US" sz="1200" i="1" kern="0" dirty="0" smtClean="0">
                  <a:solidFill>
                    <a:schemeClr val="tx2">
                      <a:lumMod val="50000"/>
                    </a:schemeClr>
                  </a:solidFill>
                </a:rPr>
                <a:t>Increased Execution cycle</a:t>
              </a:r>
              <a:endParaRPr lang="en-US" sz="1200" i="1" kern="0" dirty="0">
                <a:solidFill>
                  <a:schemeClr val="tx2">
                    <a:lumMod val="50000"/>
                  </a:schemeClr>
                </a:solidFill>
              </a:endParaRPr>
            </a:p>
          </p:txBody>
        </p:sp>
        <p:sp>
          <p:nvSpPr>
            <p:cNvPr id="20" name="Isosceles Triangle 19"/>
            <p:cNvSpPr/>
            <p:nvPr/>
          </p:nvSpPr>
          <p:spPr bwMode="auto">
            <a:xfrm rot="5400000">
              <a:off x="2065138" y="3743768"/>
              <a:ext cx="1778692" cy="231300"/>
            </a:xfrm>
            <a:prstGeom prst="triangle">
              <a:avLst/>
            </a:prstGeom>
            <a:solidFill>
              <a:sysClr val="window" lastClr="FFFFFF">
                <a:lumMod val="65000"/>
              </a:sysClr>
            </a:solidFill>
            <a:ln w="6350" cap="flat" cmpd="sng" algn="ctr">
              <a:noFill/>
              <a:prstDash val="solid"/>
              <a:round/>
              <a:headEnd type="none" w="med" len="med"/>
              <a:tailEnd type="none" w="med" len="med"/>
            </a:ln>
            <a:effectLst/>
          </p:spPr>
          <p:txBody>
            <a:bodyPr vert="horz" wrap="none" lIns="91355" tIns="45678" rIns="91355" bIns="45678" numCol="1" rtlCol="0" anchor="ctr" anchorCtr="0" compatLnSpc="1">
              <a:prstTxWarp prst="textNoShape">
                <a:avLst/>
              </a:prstTxWarp>
            </a:bodyPr>
            <a:lstStyle/>
            <a:p>
              <a:pPr algn="ctr" defTabSz="913554" eaLnBrk="0" fontAlgn="base" hangingPunct="0">
                <a:spcBef>
                  <a:spcPct val="0"/>
                </a:spcBef>
                <a:spcAft>
                  <a:spcPct val="0"/>
                </a:spcAft>
                <a:defRPr/>
              </a:pPr>
              <a:endParaRPr lang="en-US" sz="1200" b="1" i="1" kern="0" dirty="0">
                <a:solidFill>
                  <a:schemeClr val="tx2">
                    <a:lumMod val="50000"/>
                  </a:schemeClr>
                </a:solidFill>
                <a:cs typeface="Arial" charset="0"/>
              </a:endParaRPr>
            </a:p>
          </p:txBody>
        </p:sp>
        <p:sp>
          <p:nvSpPr>
            <p:cNvPr id="21" name="Isosceles Triangle 20"/>
            <p:cNvSpPr/>
            <p:nvPr/>
          </p:nvSpPr>
          <p:spPr bwMode="auto">
            <a:xfrm rot="5400000">
              <a:off x="5568760" y="3733781"/>
              <a:ext cx="1778692" cy="231300"/>
            </a:xfrm>
            <a:prstGeom prst="triangle">
              <a:avLst/>
            </a:prstGeom>
            <a:solidFill>
              <a:sysClr val="window" lastClr="FFFFFF">
                <a:lumMod val="65000"/>
              </a:sysClr>
            </a:solidFill>
            <a:ln w="6350" cap="flat" cmpd="sng" algn="ctr">
              <a:noFill/>
              <a:prstDash val="solid"/>
              <a:round/>
              <a:headEnd type="none" w="med" len="med"/>
              <a:tailEnd type="none" w="med" len="med"/>
            </a:ln>
            <a:effectLst/>
          </p:spPr>
          <p:txBody>
            <a:bodyPr vert="horz" wrap="none" lIns="91355" tIns="45678" rIns="91355" bIns="45678" numCol="1" rtlCol="0" anchor="ctr" anchorCtr="0" compatLnSpc="1">
              <a:prstTxWarp prst="textNoShape">
                <a:avLst/>
              </a:prstTxWarp>
            </a:bodyPr>
            <a:lstStyle/>
            <a:p>
              <a:pPr algn="ctr" defTabSz="913554" eaLnBrk="0" fontAlgn="base" hangingPunct="0">
                <a:spcBef>
                  <a:spcPct val="0"/>
                </a:spcBef>
                <a:spcAft>
                  <a:spcPct val="0"/>
                </a:spcAft>
                <a:defRPr/>
              </a:pPr>
              <a:endParaRPr lang="en-US" sz="1200" b="1" i="1" kern="0" dirty="0">
                <a:solidFill>
                  <a:schemeClr val="tx2">
                    <a:lumMod val="50000"/>
                  </a:schemeClr>
                </a:solidFill>
                <a:cs typeface="Arial" charset="0"/>
              </a:endParaRPr>
            </a:p>
          </p:txBody>
        </p:sp>
        <p:sp>
          <p:nvSpPr>
            <p:cNvPr id="22" name="Rectangle 21"/>
            <p:cNvSpPr>
              <a:spLocks/>
            </p:cNvSpPr>
            <p:nvPr/>
          </p:nvSpPr>
          <p:spPr bwMode="auto">
            <a:xfrm>
              <a:off x="345384" y="4618387"/>
              <a:ext cx="2301524" cy="398113"/>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indent="-171292" algn="ctr" defTabSz="913554" fontAlgn="base">
                <a:spcBef>
                  <a:spcPct val="0"/>
                </a:spcBef>
                <a:spcAft>
                  <a:spcPts val="200"/>
                </a:spcAft>
                <a:buClr>
                  <a:srgbClr val="0098CC"/>
                </a:buClr>
                <a:defRPr/>
              </a:pPr>
              <a:r>
                <a:rPr lang="en-US" sz="1200" i="1" kern="0" dirty="0" smtClean="0">
                  <a:solidFill>
                    <a:schemeClr val="tx2">
                      <a:lumMod val="50000"/>
                    </a:schemeClr>
                  </a:solidFill>
                </a:rPr>
                <a:t>Manual smoke test </a:t>
              </a:r>
              <a:endParaRPr lang="en-US" sz="1200" i="1" kern="0" dirty="0">
                <a:solidFill>
                  <a:schemeClr val="tx2">
                    <a:lumMod val="50000"/>
                  </a:schemeClr>
                </a:solidFill>
              </a:endParaRPr>
            </a:p>
          </p:txBody>
        </p:sp>
        <p:grpSp>
          <p:nvGrpSpPr>
            <p:cNvPr id="23" name="Group 22"/>
            <p:cNvGrpSpPr/>
            <p:nvPr/>
          </p:nvGrpSpPr>
          <p:grpSpPr>
            <a:xfrm>
              <a:off x="3222051" y="3000826"/>
              <a:ext cx="2912049" cy="2481905"/>
              <a:chOff x="3436532" y="3048302"/>
              <a:chExt cx="1873066" cy="2481905"/>
            </a:xfrm>
          </p:grpSpPr>
          <p:sp>
            <p:nvSpPr>
              <p:cNvPr id="24" name="Rectangle 23"/>
              <p:cNvSpPr>
                <a:spLocks/>
              </p:cNvSpPr>
              <p:nvPr/>
            </p:nvSpPr>
            <p:spPr>
              <a:xfrm>
                <a:off x="3444934" y="4229301"/>
                <a:ext cx="1864664" cy="616111"/>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algn="ctr">
                  <a:spcAft>
                    <a:spcPts val="200"/>
                  </a:spcAft>
                  <a:buClr>
                    <a:schemeClr val="accent5"/>
                  </a:buClr>
                </a:pPr>
                <a:r>
                  <a:rPr lang="en-US" sz="1200" i="1" kern="0" dirty="0" smtClean="0">
                    <a:solidFill>
                      <a:schemeClr val="tx2">
                        <a:lumMod val="50000"/>
                      </a:schemeClr>
                    </a:solidFill>
                  </a:rPr>
                  <a:t>Enabling Speed to Market and productivity improvements</a:t>
                </a:r>
                <a:endParaRPr lang="en-US" sz="1200" i="1" kern="0" dirty="0">
                  <a:solidFill>
                    <a:schemeClr val="tx2">
                      <a:lumMod val="50000"/>
                    </a:schemeClr>
                  </a:solidFill>
                </a:endParaRPr>
              </a:p>
            </p:txBody>
          </p:sp>
          <p:sp>
            <p:nvSpPr>
              <p:cNvPr id="26" name="Rectangle 25"/>
              <p:cNvSpPr>
                <a:spLocks/>
              </p:cNvSpPr>
              <p:nvPr/>
            </p:nvSpPr>
            <p:spPr>
              <a:xfrm>
                <a:off x="3444934" y="3048302"/>
                <a:ext cx="1864662" cy="494695"/>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algn="ctr">
                  <a:spcAft>
                    <a:spcPts val="200"/>
                  </a:spcAft>
                  <a:buClr>
                    <a:schemeClr val="accent5"/>
                  </a:buClr>
                </a:pPr>
                <a:r>
                  <a:rPr lang="en-US" sz="1200" i="1" kern="0" dirty="0" smtClean="0">
                    <a:solidFill>
                      <a:schemeClr val="tx2">
                        <a:lumMod val="50000"/>
                      </a:schemeClr>
                    </a:solidFill>
                  </a:rPr>
                  <a:t>Control testing costs &amp; Test more efficiently</a:t>
                </a:r>
                <a:endParaRPr lang="en-US" sz="1200" i="1" kern="0" dirty="0">
                  <a:solidFill>
                    <a:schemeClr val="tx2">
                      <a:lumMod val="50000"/>
                    </a:schemeClr>
                  </a:solidFill>
                </a:endParaRPr>
              </a:p>
            </p:txBody>
          </p:sp>
          <p:sp>
            <p:nvSpPr>
              <p:cNvPr id="28" name="Rectangle 27"/>
              <p:cNvSpPr>
                <a:spLocks/>
              </p:cNvSpPr>
              <p:nvPr/>
            </p:nvSpPr>
            <p:spPr>
              <a:xfrm>
                <a:off x="3436532" y="3628410"/>
                <a:ext cx="1864662" cy="526977"/>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algn="ctr">
                  <a:spcAft>
                    <a:spcPts val="200"/>
                  </a:spcAft>
                  <a:buClr>
                    <a:schemeClr val="accent5"/>
                  </a:buClr>
                </a:pPr>
                <a:r>
                  <a:rPr lang="en-US" sz="1200" i="1" kern="0" dirty="0" smtClean="0">
                    <a:solidFill>
                      <a:schemeClr val="tx2">
                        <a:lumMod val="50000"/>
                      </a:schemeClr>
                    </a:solidFill>
                  </a:rPr>
                  <a:t>Shift Left Testing approach</a:t>
                </a:r>
                <a:endParaRPr lang="en-US" sz="1200" b="1" i="1" kern="0" dirty="0">
                  <a:solidFill>
                    <a:schemeClr val="tx2">
                      <a:lumMod val="50000"/>
                    </a:schemeClr>
                  </a:solidFill>
                </a:endParaRPr>
              </a:p>
            </p:txBody>
          </p:sp>
          <p:sp>
            <p:nvSpPr>
              <p:cNvPr id="30" name="Rectangle 29"/>
              <p:cNvSpPr>
                <a:spLocks/>
              </p:cNvSpPr>
              <p:nvPr/>
            </p:nvSpPr>
            <p:spPr>
              <a:xfrm>
                <a:off x="3444932" y="4932563"/>
                <a:ext cx="1864662" cy="597644"/>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algn="ctr">
                  <a:spcAft>
                    <a:spcPts val="200"/>
                  </a:spcAft>
                  <a:buClr>
                    <a:schemeClr val="accent5"/>
                  </a:buClr>
                </a:pPr>
                <a:r>
                  <a:rPr lang="en-US" sz="1200" i="1" kern="0" dirty="0" smtClean="0">
                    <a:solidFill>
                      <a:schemeClr val="tx2">
                        <a:lumMod val="50000"/>
                      </a:schemeClr>
                    </a:solidFill>
                  </a:rPr>
                  <a:t>Up-Skilling of Testers as Automation </a:t>
                </a:r>
                <a:r>
                  <a:rPr lang="en-US" sz="1200" i="1" kern="0" dirty="0" smtClean="0">
                    <a:solidFill>
                      <a:schemeClr val="tx2">
                        <a:lumMod val="50000"/>
                      </a:schemeClr>
                    </a:solidFill>
                  </a:rPr>
                  <a:t>Engineers</a:t>
                </a:r>
                <a:endParaRPr lang="en-US" sz="1200" i="1" kern="0" dirty="0" smtClean="0">
                  <a:solidFill>
                    <a:schemeClr val="tx2">
                      <a:lumMod val="50000"/>
                    </a:schemeClr>
                  </a:solidFill>
                </a:endParaRPr>
              </a:p>
            </p:txBody>
          </p:sp>
        </p:grpSp>
        <p:sp>
          <p:nvSpPr>
            <p:cNvPr id="32" name="TextBox 31"/>
            <p:cNvSpPr txBox="1"/>
            <p:nvPr/>
          </p:nvSpPr>
          <p:spPr>
            <a:xfrm>
              <a:off x="635396" y="2643136"/>
              <a:ext cx="1777604" cy="276999"/>
            </a:xfrm>
            <a:prstGeom prst="rect">
              <a:avLst/>
            </a:prstGeom>
            <a:noFill/>
          </p:spPr>
          <p:txBody>
            <a:bodyPr wrap="square" rtlCol="0">
              <a:spAutoFit/>
            </a:bodyPr>
            <a:lstStyle/>
            <a:p>
              <a:pPr algn="ctr"/>
              <a:r>
                <a:rPr lang="en-US" sz="1200" b="1" i="1" dirty="0" smtClean="0">
                  <a:solidFill>
                    <a:schemeClr val="tx2">
                      <a:lumMod val="50000"/>
                    </a:schemeClr>
                  </a:solidFill>
                </a:rPr>
                <a:t>Without Automation</a:t>
              </a:r>
              <a:endParaRPr lang="en-US" sz="1200" b="1" i="1" dirty="0">
                <a:solidFill>
                  <a:schemeClr val="tx2">
                    <a:lumMod val="50000"/>
                  </a:schemeClr>
                </a:solidFill>
              </a:endParaRPr>
            </a:p>
          </p:txBody>
        </p:sp>
        <p:sp>
          <p:nvSpPr>
            <p:cNvPr id="33" name="TextBox 32"/>
            <p:cNvSpPr txBox="1"/>
            <p:nvPr/>
          </p:nvSpPr>
          <p:spPr>
            <a:xfrm>
              <a:off x="3184196" y="2643136"/>
              <a:ext cx="2980757" cy="276999"/>
            </a:xfrm>
            <a:prstGeom prst="rect">
              <a:avLst/>
            </a:prstGeom>
            <a:noFill/>
          </p:spPr>
          <p:txBody>
            <a:bodyPr wrap="square" rtlCol="0">
              <a:spAutoFit/>
            </a:bodyPr>
            <a:lstStyle/>
            <a:p>
              <a:pPr algn="ctr"/>
              <a:r>
                <a:rPr lang="en-US" sz="1200" b="1" i="1" dirty="0" smtClean="0">
                  <a:solidFill>
                    <a:schemeClr val="tx2">
                      <a:lumMod val="50000"/>
                    </a:schemeClr>
                  </a:solidFill>
                </a:rPr>
                <a:t>Enterprise-level standardization</a:t>
              </a:r>
              <a:endParaRPr lang="en-US" sz="1200" b="1" i="1" dirty="0">
                <a:solidFill>
                  <a:schemeClr val="tx2">
                    <a:lumMod val="50000"/>
                  </a:schemeClr>
                </a:solidFill>
              </a:endParaRPr>
            </a:p>
          </p:txBody>
        </p:sp>
        <p:sp>
          <p:nvSpPr>
            <p:cNvPr id="37" name="Rectangle 36"/>
            <p:cNvSpPr>
              <a:spLocks/>
            </p:cNvSpPr>
            <p:nvPr/>
          </p:nvSpPr>
          <p:spPr bwMode="auto">
            <a:xfrm>
              <a:off x="358084" y="5100987"/>
              <a:ext cx="2301524" cy="398113"/>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indent="-171292" algn="ctr" defTabSz="913554" fontAlgn="base">
                <a:spcBef>
                  <a:spcPct val="0"/>
                </a:spcBef>
                <a:spcAft>
                  <a:spcPts val="200"/>
                </a:spcAft>
                <a:buClr>
                  <a:srgbClr val="0098CC"/>
                </a:buClr>
                <a:defRPr/>
              </a:pPr>
              <a:r>
                <a:rPr lang="en-US" sz="1200" i="1" kern="0" dirty="0" smtClean="0">
                  <a:solidFill>
                    <a:schemeClr val="tx2">
                      <a:lumMod val="50000"/>
                    </a:schemeClr>
                  </a:solidFill>
                </a:rPr>
                <a:t>No Build </a:t>
              </a:r>
              <a:r>
                <a:rPr lang="en-US" sz="1200" i="1" kern="0" dirty="0" smtClean="0">
                  <a:solidFill>
                    <a:schemeClr val="tx2">
                      <a:lumMod val="50000"/>
                    </a:schemeClr>
                  </a:solidFill>
                </a:rPr>
                <a:t>verification (CI)</a:t>
              </a:r>
              <a:endParaRPr lang="en-US" sz="1200" i="1" kern="0" dirty="0">
                <a:solidFill>
                  <a:schemeClr val="tx2">
                    <a:lumMod val="50000"/>
                  </a:schemeClr>
                </a:solidFill>
              </a:endParaRPr>
            </a:p>
          </p:txBody>
        </p:sp>
        <p:sp>
          <p:nvSpPr>
            <p:cNvPr id="44" name="Rounded Rectangle 43"/>
            <p:cNvSpPr>
              <a:spLocks/>
            </p:cNvSpPr>
            <p:nvPr/>
          </p:nvSpPr>
          <p:spPr>
            <a:xfrm>
              <a:off x="6718300" y="2544387"/>
              <a:ext cx="2984500" cy="3056313"/>
            </a:xfrm>
            <a:prstGeom prst="roundRect">
              <a:avLst>
                <a:gd name="adj" fmla="val 3427"/>
              </a:avLst>
            </a:prstGeom>
            <a:solidFill>
              <a:sysClr val="window" lastClr="FFFFFF">
                <a:lumMod val="95000"/>
              </a:sysClr>
            </a:solidFill>
            <a:ln w="19050">
              <a:noFill/>
              <a:miter lim="800000"/>
              <a:headEnd/>
              <a:tailEnd/>
            </a:ln>
            <a:effectLst>
              <a:outerShdw blurRad="50800" dist="38100" dir="2700000" algn="tl" rotWithShape="0">
                <a:prstClr val="black">
                  <a:alpha val="40000"/>
                </a:prstClr>
              </a:outerShdw>
            </a:effectLst>
          </p:spPr>
          <p:txBody>
            <a:bodyPr wrap="square" lIns="45678" tIns="45678" rIns="45678" bIns="45678" anchor="ctr">
              <a:noAutofit/>
            </a:bodyPr>
            <a:lstStyle/>
            <a:p>
              <a:pPr marL="171292" indent="-171292" defTabSz="913554">
                <a:spcAft>
                  <a:spcPts val="200"/>
                </a:spcAft>
                <a:buClr>
                  <a:srgbClr val="0098CC"/>
                </a:buClr>
                <a:buFont typeface="Arial" pitchFamily="34" charset="0"/>
                <a:buChar char="•"/>
                <a:defRPr/>
              </a:pPr>
              <a:endParaRPr lang="en-US" sz="1200" b="1" i="1" kern="0" dirty="0">
                <a:solidFill>
                  <a:schemeClr val="tx2">
                    <a:lumMod val="50000"/>
                  </a:schemeClr>
                </a:solidFill>
              </a:endParaRPr>
            </a:p>
          </p:txBody>
        </p:sp>
        <p:grpSp>
          <p:nvGrpSpPr>
            <p:cNvPr id="45" name="Group 44"/>
            <p:cNvGrpSpPr/>
            <p:nvPr/>
          </p:nvGrpSpPr>
          <p:grpSpPr>
            <a:xfrm>
              <a:off x="6769100" y="3724626"/>
              <a:ext cx="2870200" cy="1788706"/>
              <a:chOff x="3444932" y="3756599"/>
              <a:chExt cx="1864663" cy="1750302"/>
            </a:xfrm>
          </p:grpSpPr>
          <p:sp>
            <p:nvSpPr>
              <p:cNvPr id="46" name="Rectangle 45"/>
              <p:cNvSpPr>
                <a:spLocks/>
              </p:cNvSpPr>
              <p:nvPr/>
            </p:nvSpPr>
            <p:spPr>
              <a:xfrm>
                <a:off x="3444932" y="4702484"/>
                <a:ext cx="1864663" cy="344708"/>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algn="ctr">
                  <a:spcAft>
                    <a:spcPts val="200"/>
                  </a:spcAft>
                  <a:buClr>
                    <a:schemeClr val="accent5"/>
                  </a:buClr>
                </a:pPr>
                <a:r>
                  <a:rPr lang="en-US" sz="1200" i="1" kern="0" dirty="0" smtClean="0">
                    <a:solidFill>
                      <a:schemeClr val="tx2">
                        <a:lumMod val="50000"/>
                      </a:schemeClr>
                    </a:solidFill>
                  </a:rPr>
                  <a:t>Multi-browser support</a:t>
                </a:r>
                <a:endParaRPr lang="en-US" sz="1200" b="1" i="1" kern="0" dirty="0">
                  <a:solidFill>
                    <a:schemeClr val="tx2">
                      <a:lumMod val="50000"/>
                    </a:schemeClr>
                  </a:solidFill>
                </a:endParaRPr>
              </a:p>
            </p:txBody>
          </p:sp>
          <p:sp>
            <p:nvSpPr>
              <p:cNvPr id="47" name="Rectangle 46"/>
              <p:cNvSpPr>
                <a:spLocks/>
              </p:cNvSpPr>
              <p:nvPr/>
            </p:nvSpPr>
            <p:spPr>
              <a:xfrm>
                <a:off x="3444932" y="3756599"/>
                <a:ext cx="1864662" cy="511298"/>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algn="ctr">
                  <a:spcAft>
                    <a:spcPts val="200"/>
                  </a:spcAft>
                  <a:buClr>
                    <a:schemeClr val="accent5"/>
                  </a:buClr>
                </a:pPr>
                <a:r>
                  <a:rPr lang="en-US" sz="1200" i="1" kern="0" dirty="0" smtClean="0">
                    <a:solidFill>
                      <a:schemeClr val="tx2">
                        <a:lumMod val="50000"/>
                      </a:schemeClr>
                    </a:solidFill>
                  </a:rPr>
                  <a:t>Automated suite execution after every build deployment</a:t>
                </a:r>
                <a:endParaRPr lang="en-US" sz="1200" i="1" kern="0" dirty="0">
                  <a:solidFill>
                    <a:schemeClr val="tx2">
                      <a:lumMod val="50000"/>
                    </a:schemeClr>
                  </a:solidFill>
                </a:endParaRPr>
              </a:p>
            </p:txBody>
          </p:sp>
          <p:sp>
            <p:nvSpPr>
              <p:cNvPr id="48" name="Rectangle 47"/>
              <p:cNvSpPr>
                <a:spLocks/>
              </p:cNvSpPr>
              <p:nvPr/>
            </p:nvSpPr>
            <p:spPr>
              <a:xfrm>
                <a:off x="3444932" y="4319015"/>
                <a:ext cx="1864662" cy="315463"/>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algn="ctr">
                  <a:spcAft>
                    <a:spcPts val="200"/>
                  </a:spcAft>
                  <a:buClr>
                    <a:schemeClr val="accent5"/>
                  </a:buClr>
                </a:pPr>
                <a:r>
                  <a:rPr lang="en-US" sz="1200" i="1" kern="0" dirty="0" smtClean="0">
                    <a:solidFill>
                      <a:schemeClr val="tx2">
                        <a:lumMod val="50000"/>
                      </a:schemeClr>
                    </a:solidFill>
                  </a:rPr>
                  <a:t>Reduced Maintenance cost </a:t>
                </a:r>
                <a:endParaRPr lang="en-US" sz="1200" b="1" i="1" kern="0" dirty="0" smtClean="0">
                  <a:solidFill>
                    <a:schemeClr val="tx2">
                      <a:lumMod val="50000"/>
                    </a:schemeClr>
                  </a:solidFill>
                </a:endParaRPr>
              </a:p>
            </p:txBody>
          </p:sp>
          <p:sp>
            <p:nvSpPr>
              <p:cNvPr id="49" name="Rectangle 48"/>
              <p:cNvSpPr>
                <a:spLocks/>
              </p:cNvSpPr>
              <p:nvPr/>
            </p:nvSpPr>
            <p:spPr>
              <a:xfrm>
                <a:off x="3444932" y="5098737"/>
                <a:ext cx="1864662" cy="408164"/>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algn="ctr">
                  <a:spcAft>
                    <a:spcPts val="200"/>
                  </a:spcAft>
                  <a:buClr>
                    <a:schemeClr val="accent5"/>
                  </a:buClr>
                </a:pPr>
                <a:r>
                  <a:rPr lang="en-US" sz="1200" i="1" kern="0" dirty="0" smtClean="0">
                    <a:solidFill>
                      <a:schemeClr val="tx2">
                        <a:lumMod val="50000"/>
                      </a:schemeClr>
                    </a:solidFill>
                  </a:rPr>
                  <a:t>Reusability with more test coverage</a:t>
                </a:r>
                <a:endParaRPr lang="en-US" sz="1200" i="1" kern="0" dirty="0">
                  <a:solidFill>
                    <a:schemeClr val="tx2">
                      <a:lumMod val="50000"/>
                    </a:schemeClr>
                  </a:solidFill>
                </a:endParaRPr>
              </a:p>
            </p:txBody>
          </p:sp>
        </p:grpSp>
        <p:sp>
          <p:nvSpPr>
            <p:cNvPr id="10" name="Rounded Rectangle 9"/>
            <p:cNvSpPr/>
            <p:nvPr/>
          </p:nvSpPr>
          <p:spPr bwMode="auto">
            <a:xfrm>
              <a:off x="6692110" y="2302122"/>
              <a:ext cx="3010690" cy="326777"/>
            </a:xfrm>
            <a:prstGeom prst="roundRect">
              <a:avLst>
                <a:gd name="adj" fmla="val 33863"/>
              </a:avLst>
            </a:prstGeom>
            <a:solidFill>
              <a:schemeClr val="accent5"/>
            </a:solidFill>
            <a:ln w="317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91355" tIns="45678" rIns="91355" bIns="45678" numCol="1" rtlCol="0" anchor="ctr" anchorCtr="0" compatLnSpc="1">
              <a:prstTxWarp prst="textNoShape">
                <a:avLst/>
              </a:prstTxWarp>
            </a:bodyPr>
            <a:lstStyle/>
            <a:p>
              <a:pPr algn="ctr" defTabSz="913554" eaLnBrk="0" fontAlgn="base" hangingPunct="0">
                <a:spcBef>
                  <a:spcPct val="0"/>
                </a:spcBef>
                <a:spcAft>
                  <a:spcPct val="0"/>
                </a:spcAft>
                <a:defRPr/>
              </a:pPr>
              <a:r>
                <a:rPr lang="en-US" sz="1200" b="1" i="1" kern="0" dirty="0" smtClean="0">
                  <a:solidFill>
                    <a:schemeClr val="bg1"/>
                  </a:solidFill>
                  <a:cs typeface="Arial" charset="0"/>
                </a:rPr>
                <a:t>Benefits of Automation</a:t>
              </a:r>
              <a:endParaRPr lang="en-US" sz="1200" b="1" i="1" kern="0" dirty="0">
                <a:solidFill>
                  <a:schemeClr val="bg1"/>
                </a:solidFill>
                <a:cs typeface="Arial" charset="0"/>
              </a:endParaRPr>
            </a:p>
          </p:txBody>
        </p:sp>
      </p:grpSp>
      <p:sp>
        <p:nvSpPr>
          <p:cNvPr id="41" name="Rectangle 40"/>
          <p:cNvSpPr>
            <a:spLocks/>
          </p:cNvSpPr>
          <p:nvPr/>
        </p:nvSpPr>
        <p:spPr>
          <a:xfrm>
            <a:off x="6770431" y="2455459"/>
            <a:ext cx="2870198" cy="431433"/>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algn="ctr">
              <a:spcAft>
                <a:spcPts val="200"/>
              </a:spcAft>
              <a:buClr>
                <a:schemeClr val="accent5"/>
              </a:buClr>
            </a:pPr>
            <a:r>
              <a:rPr lang="en-US" sz="1200" i="1" kern="0" dirty="0" smtClean="0">
                <a:solidFill>
                  <a:schemeClr val="tx2">
                    <a:lumMod val="50000"/>
                  </a:schemeClr>
                </a:solidFill>
              </a:rPr>
              <a:t>Early </a:t>
            </a:r>
            <a:r>
              <a:rPr lang="en-US" sz="1200" i="1" kern="0" dirty="0" smtClean="0">
                <a:solidFill>
                  <a:schemeClr val="tx2">
                    <a:lumMod val="50000"/>
                  </a:schemeClr>
                </a:solidFill>
              </a:rPr>
              <a:t>Automation </a:t>
            </a:r>
            <a:r>
              <a:rPr lang="en-US" sz="1200" i="1" kern="0" dirty="0" smtClean="0">
                <a:solidFill>
                  <a:schemeClr val="tx2">
                    <a:lumMod val="50000"/>
                  </a:schemeClr>
                </a:solidFill>
              </a:rPr>
              <a:t>by getting involved from Requirement stage </a:t>
            </a:r>
            <a:endParaRPr lang="en-US" sz="1200" i="1" kern="0" dirty="0" smtClean="0">
              <a:solidFill>
                <a:schemeClr val="tx2">
                  <a:lumMod val="50000"/>
                </a:schemeClr>
              </a:solidFill>
            </a:endParaRPr>
          </a:p>
        </p:txBody>
      </p:sp>
      <p:sp>
        <p:nvSpPr>
          <p:cNvPr id="42" name="Rectangle 41"/>
          <p:cNvSpPr>
            <a:spLocks/>
          </p:cNvSpPr>
          <p:nvPr/>
        </p:nvSpPr>
        <p:spPr>
          <a:xfrm>
            <a:off x="6794278" y="2930816"/>
            <a:ext cx="2870198" cy="465527"/>
          </a:xfrm>
          <a:prstGeom prst="rect">
            <a:avLst/>
          </a:prstGeom>
          <a:solidFill>
            <a:sysClr val="window" lastClr="FFFFFF"/>
          </a:solidFill>
          <a:ln w="3175">
            <a:noFill/>
            <a:miter lim="800000"/>
            <a:headEnd/>
            <a:tailEnd/>
          </a:ln>
          <a:effectLst/>
        </p:spPr>
        <p:txBody>
          <a:bodyPr wrap="square" lIns="45678" tIns="45678" rIns="45678" bIns="45678" anchor="ctr">
            <a:noAutofit/>
          </a:bodyPr>
          <a:lstStyle/>
          <a:p>
            <a:pPr algn="ctr">
              <a:spcAft>
                <a:spcPts val="200"/>
              </a:spcAft>
              <a:buClr>
                <a:schemeClr val="accent5"/>
              </a:buClr>
            </a:pPr>
            <a:r>
              <a:rPr lang="en-US" sz="1200" i="1" kern="0" dirty="0" smtClean="0">
                <a:solidFill>
                  <a:schemeClr val="tx2">
                    <a:lumMod val="50000"/>
                  </a:schemeClr>
                </a:solidFill>
              </a:rPr>
              <a:t>Test more often. Automated tests can be run </a:t>
            </a:r>
            <a:r>
              <a:rPr lang="en-US" sz="1200" i="1" kern="0" dirty="0" smtClean="0">
                <a:solidFill>
                  <a:schemeClr val="tx2">
                    <a:lumMod val="50000"/>
                  </a:schemeClr>
                </a:solidFill>
              </a:rPr>
              <a:t>for every change </a:t>
            </a:r>
            <a:endParaRPr lang="en-US" sz="1200" i="1" kern="0" dirty="0">
              <a:solidFill>
                <a:schemeClr val="tx2">
                  <a:lumMod val="50000"/>
                </a:schemeClr>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55670"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en-GB" dirty="0" smtClean="0"/>
              <a:t>Automation – </a:t>
            </a:r>
            <a:r>
              <a:rPr lang="en-GB" dirty="0" smtClean="0"/>
              <a:t>PRIME Applications</a:t>
            </a:r>
            <a:endParaRPr lang="en-GB" dirty="0"/>
          </a:p>
        </p:txBody>
      </p:sp>
      <p:sp>
        <p:nvSpPr>
          <p:cNvPr id="6" name="Rounded Rectangle 5"/>
          <p:cNvSpPr/>
          <p:nvPr/>
        </p:nvSpPr>
        <p:spPr bwMode="auto">
          <a:xfrm>
            <a:off x="280063" y="1446663"/>
            <a:ext cx="9186863" cy="4722124"/>
          </a:xfrm>
          <a:prstGeom prst="roundRect">
            <a:avLst>
              <a:gd name="adj" fmla="val 2219"/>
            </a:avLst>
          </a:prstGeom>
          <a:solidFill>
            <a:schemeClr val="bg1">
              <a:lumMod val="95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t"/>
          <a:lstStyle/>
          <a:p>
            <a:pPr marL="347663" lvl="2" indent="-166189" defTabSz="914342" fontAlgn="auto">
              <a:lnSpc>
                <a:spcPct val="90000"/>
              </a:lnSpc>
              <a:spcAft>
                <a:spcPts val="600"/>
              </a:spcAft>
              <a:buClr>
                <a:schemeClr val="accent5"/>
              </a:buClr>
              <a:buFont typeface="Wingdings" pitchFamily="2" charset="2"/>
              <a:buChar char="§"/>
              <a:defRPr/>
            </a:pPr>
            <a:endParaRPr lang="en-GB" sz="1600" dirty="0" smtClean="0">
              <a:solidFill>
                <a:schemeClr val="tx1"/>
              </a:solidFill>
            </a:endParaRPr>
          </a:p>
          <a:p>
            <a:pPr marL="347663" lvl="2" indent="-166189" defTabSz="914342" fontAlgn="auto">
              <a:lnSpc>
                <a:spcPct val="90000"/>
              </a:lnSpc>
              <a:spcAft>
                <a:spcPts val="600"/>
              </a:spcAft>
              <a:buClr>
                <a:schemeClr val="accent5"/>
              </a:buClr>
              <a:buFont typeface="Wingdings" pitchFamily="2" charset="2"/>
              <a:buChar char="§"/>
              <a:defRPr/>
            </a:pPr>
            <a:r>
              <a:rPr lang="en-GB" sz="1600" dirty="0" smtClean="0">
                <a:solidFill>
                  <a:schemeClr val="tx1"/>
                </a:solidFill>
              </a:rPr>
              <a:t>We have created Test Automation solution of Prime application </a:t>
            </a:r>
          </a:p>
          <a:p>
            <a:pPr marL="826541" lvl="3" indent="-166189" defTabSz="914342">
              <a:lnSpc>
                <a:spcPct val="90000"/>
              </a:lnSpc>
              <a:spcAft>
                <a:spcPts val="600"/>
              </a:spcAft>
              <a:buClr>
                <a:schemeClr val="accent5"/>
              </a:buClr>
              <a:buFont typeface="Wingdings" pitchFamily="2" charset="2"/>
              <a:buChar char="§"/>
              <a:defRPr/>
            </a:pPr>
            <a:r>
              <a:rPr lang="en-GB" sz="1600" dirty="0" smtClean="0">
                <a:solidFill>
                  <a:schemeClr val="tx1"/>
                </a:solidFill>
              </a:rPr>
              <a:t>Application Scope As follows :-</a:t>
            </a:r>
          </a:p>
          <a:p>
            <a:pPr marL="1305417" lvl="4" indent="-166189" defTabSz="914342">
              <a:lnSpc>
                <a:spcPct val="90000"/>
              </a:lnSpc>
              <a:spcAft>
                <a:spcPts val="600"/>
              </a:spcAft>
              <a:buClr>
                <a:schemeClr val="accent5"/>
              </a:buClr>
              <a:buFont typeface="Wingdings" pitchFamily="2" charset="2"/>
              <a:buChar char="§"/>
              <a:defRPr/>
            </a:pPr>
            <a:r>
              <a:rPr lang="en-GB" sz="1400" dirty="0" smtClean="0">
                <a:solidFill>
                  <a:schemeClr val="tx1"/>
                </a:solidFill>
              </a:rPr>
              <a:t>Prime Templates</a:t>
            </a:r>
          </a:p>
          <a:p>
            <a:pPr marL="1305417" lvl="4" indent="-166189" defTabSz="914342">
              <a:lnSpc>
                <a:spcPct val="90000"/>
              </a:lnSpc>
              <a:spcAft>
                <a:spcPts val="600"/>
              </a:spcAft>
              <a:buClr>
                <a:schemeClr val="accent5"/>
              </a:buClr>
              <a:buFont typeface="Wingdings" pitchFamily="2" charset="2"/>
              <a:buChar char="§"/>
              <a:defRPr/>
            </a:pPr>
            <a:r>
              <a:rPr lang="en-GB" sz="1400" dirty="0" smtClean="0">
                <a:solidFill>
                  <a:schemeClr val="tx1"/>
                </a:solidFill>
              </a:rPr>
              <a:t>Prime Parameters</a:t>
            </a:r>
          </a:p>
          <a:p>
            <a:pPr marL="1305417" lvl="4" indent="-166189" defTabSz="914342">
              <a:lnSpc>
                <a:spcPct val="90000"/>
              </a:lnSpc>
              <a:spcAft>
                <a:spcPts val="600"/>
              </a:spcAft>
              <a:buClr>
                <a:schemeClr val="accent5"/>
              </a:buClr>
              <a:buFont typeface="Wingdings" pitchFamily="2" charset="2"/>
              <a:buChar char="§"/>
              <a:defRPr/>
            </a:pPr>
            <a:r>
              <a:rPr lang="en-GB" sz="1400" dirty="0" smtClean="0">
                <a:solidFill>
                  <a:schemeClr val="tx1"/>
                </a:solidFill>
              </a:rPr>
              <a:t>Prime Job Admin</a:t>
            </a:r>
          </a:p>
          <a:p>
            <a:pPr marL="1305417" lvl="4" indent="-166189" defTabSz="914342">
              <a:lnSpc>
                <a:spcPct val="90000"/>
              </a:lnSpc>
              <a:spcAft>
                <a:spcPts val="600"/>
              </a:spcAft>
              <a:buClr>
                <a:schemeClr val="accent5"/>
              </a:buClr>
              <a:buFont typeface="Wingdings" pitchFamily="2" charset="2"/>
              <a:buChar char="§"/>
              <a:defRPr/>
            </a:pPr>
            <a:r>
              <a:rPr lang="en-GB" sz="1400" dirty="0" smtClean="0">
                <a:solidFill>
                  <a:schemeClr val="tx1"/>
                </a:solidFill>
              </a:rPr>
              <a:t>Application Manager</a:t>
            </a:r>
          </a:p>
          <a:p>
            <a:pPr marL="1305417" lvl="4" indent="-166189" defTabSz="914342">
              <a:lnSpc>
                <a:spcPct val="90000"/>
              </a:lnSpc>
              <a:spcAft>
                <a:spcPts val="600"/>
              </a:spcAft>
              <a:buClr>
                <a:schemeClr val="accent5"/>
              </a:buClr>
              <a:buFont typeface="Wingdings" pitchFamily="2" charset="2"/>
              <a:buChar char="§"/>
              <a:defRPr/>
            </a:pPr>
            <a:r>
              <a:rPr lang="en-GB" sz="1400" dirty="0" smtClean="0">
                <a:solidFill>
                  <a:schemeClr val="tx1"/>
                </a:solidFill>
              </a:rPr>
              <a:t>Customer Service</a:t>
            </a:r>
          </a:p>
          <a:p>
            <a:pPr marL="1305417" lvl="4" indent="-166189" defTabSz="914342">
              <a:lnSpc>
                <a:spcPct val="90000"/>
              </a:lnSpc>
              <a:spcAft>
                <a:spcPts val="600"/>
              </a:spcAft>
              <a:buClr>
                <a:schemeClr val="accent5"/>
              </a:buClr>
              <a:buFont typeface="Wingdings" pitchFamily="2" charset="2"/>
              <a:buChar char="§"/>
              <a:defRPr/>
            </a:pPr>
            <a:r>
              <a:rPr lang="en-GB" sz="1400" dirty="0" smtClean="0">
                <a:solidFill>
                  <a:schemeClr val="tx1"/>
                </a:solidFill>
              </a:rPr>
              <a:t>Manual Transactions</a:t>
            </a:r>
          </a:p>
          <a:p>
            <a:pPr marL="1305417" lvl="4" indent="-166189" defTabSz="914342">
              <a:lnSpc>
                <a:spcPct val="90000"/>
              </a:lnSpc>
              <a:spcAft>
                <a:spcPts val="600"/>
              </a:spcAft>
              <a:buClr>
                <a:schemeClr val="accent5"/>
              </a:buClr>
              <a:buFont typeface="Wingdings" pitchFamily="2" charset="2"/>
              <a:buChar char="§"/>
              <a:defRPr/>
            </a:pPr>
            <a:r>
              <a:rPr lang="en-GB" sz="1400" dirty="0" smtClean="0">
                <a:solidFill>
                  <a:schemeClr val="tx1"/>
                </a:solidFill>
              </a:rPr>
              <a:t>Transaction Management</a:t>
            </a:r>
          </a:p>
          <a:p>
            <a:pPr marL="1305417" lvl="4" indent="-166189" defTabSz="914342">
              <a:lnSpc>
                <a:spcPct val="90000"/>
              </a:lnSpc>
              <a:spcAft>
                <a:spcPts val="600"/>
              </a:spcAft>
              <a:buClr>
                <a:schemeClr val="accent5"/>
              </a:buClr>
              <a:buFont typeface="Wingdings" pitchFamily="2" charset="2"/>
              <a:buChar char="§"/>
              <a:defRPr/>
            </a:pPr>
            <a:r>
              <a:rPr lang="en-GB" sz="1400" dirty="0" smtClean="0">
                <a:solidFill>
                  <a:schemeClr val="tx1"/>
                </a:solidFill>
              </a:rPr>
              <a:t>Outgoing File - Embossing  and Electronic Statement </a:t>
            </a:r>
          </a:p>
          <a:p>
            <a:pPr marL="1305417" lvl="4" indent="-166189" defTabSz="914342">
              <a:lnSpc>
                <a:spcPct val="90000"/>
              </a:lnSpc>
              <a:spcAft>
                <a:spcPts val="600"/>
              </a:spcAft>
              <a:buClr>
                <a:schemeClr val="accent5"/>
              </a:buClr>
              <a:buFont typeface="Wingdings" pitchFamily="2" charset="2"/>
              <a:buChar char="§"/>
              <a:defRPr/>
            </a:pPr>
            <a:r>
              <a:rPr lang="en-GB" sz="1400" dirty="0" smtClean="0">
                <a:solidFill>
                  <a:schemeClr val="tx1"/>
                </a:solidFill>
              </a:rPr>
              <a:t>Incoming  Transaction File</a:t>
            </a:r>
          </a:p>
          <a:p>
            <a:pPr marL="826541" lvl="3" indent="-166189" defTabSz="914342">
              <a:lnSpc>
                <a:spcPct val="90000"/>
              </a:lnSpc>
              <a:spcAft>
                <a:spcPts val="600"/>
              </a:spcAft>
              <a:buClr>
                <a:schemeClr val="accent5"/>
              </a:buClr>
              <a:defRPr/>
            </a:pPr>
            <a:endParaRPr lang="en-GB" sz="2400" dirty="0" smtClean="0">
              <a:solidFill>
                <a:schemeClr val="tx2">
                  <a:lumMod val="50000"/>
                </a:schemeClr>
              </a:solidFill>
            </a:endParaRPr>
          </a:p>
          <a:p>
            <a:pPr marL="826541" lvl="3" indent="-166189" defTabSz="914342">
              <a:lnSpc>
                <a:spcPct val="90000"/>
              </a:lnSpc>
              <a:spcAft>
                <a:spcPts val="600"/>
              </a:spcAft>
              <a:buClr>
                <a:schemeClr val="accent5"/>
              </a:buClr>
              <a:buFont typeface="Wingdings" pitchFamily="2" charset="2"/>
              <a:buChar char="§"/>
              <a:defRPr/>
            </a:pPr>
            <a:endParaRPr lang="en-GB" sz="2400" dirty="0" smtClean="0">
              <a:solidFill>
                <a:schemeClr val="tx2">
                  <a:lumMod val="50000"/>
                </a:schemeClr>
              </a:solidFill>
            </a:endParaRPr>
          </a:p>
          <a:p>
            <a:pPr marL="826541" lvl="3" indent="-173038">
              <a:lnSpc>
                <a:spcPct val="90000"/>
              </a:lnSpc>
              <a:spcBef>
                <a:spcPts val="300"/>
              </a:spcBef>
              <a:spcAft>
                <a:spcPts val="300"/>
              </a:spcAft>
              <a:buClr>
                <a:schemeClr val="accent5"/>
              </a:buClr>
              <a:buFont typeface="Wingdings" pitchFamily="2" charset="2"/>
              <a:buChar char="§"/>
              <a:defRPr/>
            </a:pPr>
            <a:endParaRPr lang="en-GB" sz="1400" dirty="0" smtClean="0">
              <a:solidFill>
                <a:schemeClr val="tx2">
                  <a:lumMod val="50000"/>
                </a:schemeClr>
              </a:solidFill>
            </a:endParaRPr>
          </a:p>
          <a:p>
            <a:pPr marL="347663" lvl="2" indent="-173038">
              <a:spcBef>
                <a:spcPts val="300"/>
              </a:spcBef>
              <a:spcAft>
                <a:spcPts val="300"/>
              </a:spcAft>
              <a:buClr>
                <a:schemeClr val="accent5"/>
              </a:buClr>
              <a:defRPr/>
            </a:pPr>
            <a:r>
              <a:rPr lang="en-GB" sz="1400" dirty="0" smtClean="0">
                <a:solidFill>
                  <a:schemeClr val="tx2">
                    <a:lumMod val="50000"/>
                  </a:schemeClr>
                </a:solidFill>
              </a:rPr>
              <a:t/>
            </a:r>
            <a:br>
              <a:rPr lang="en-GB" sz="1400" dirty="0" smtClean="0">
                <a:solidFill>
                  <a:schemeClr val="tx2">
                    <a:lumMod val="50000"/>
                  </a:schemeClr>
                </a:solidFill>
              </a:rPr>
            </a:br>
            <a:endParaRPr lang="en-GB" sz="1400" dirty="0" smtClean="0">
              <a:solidFill>
                <a:schemeClr val="tx2">
                  <a:lumMod val="50000"/>
                </a:schemeClr>
              </a:solidFill>
            </a:endParaRPr>
          </a:p>
          <a:p>
            <a:pPr marL="0" lvl="2" indent="-173038">
              <a:spcBef>
                <a:spcPts val="300"/>
              </a:spcBef>
              <a:spcAft>
                <a:spcPts val="300"/>
              </a:spcAft>
              <a:buClr>
                <a:schemeClr val="accent5"/>
              </a:buClr>
              <a:defRPr/>
            </a:pPr>
            <a:endParaRPr lang="en-GB" sz="1400" dirty="0" smtClean="0">
              <a:solidFill>
                <a:schemeClr val="tx2">
                  <a:lumMod val="50000"/>
                </a:schemeClr>
              </a:solidFill>
            </a:endParaRPr>
          </a:p>
          <a:p>
            <a:pPr marL="173736" lvl="1" indent="-173736" defTabSz="957756" fontAlgn="auto">
              <a:spcBef>
                <a:spcPts val="300"/>
              </a:spcBef>
              <a:spcAft>
                <a:spcPts val="300"/>
              </a:spcAft>
              <a:buClr>
                <a:schemeClr val="accent5"/>
              </a:buClr>
              <a:defRPr/>
            </a:pPr>
            <a:endParaRPr lang="en-GB" sz="1400" dirty="0">
              <a:solidFill>
                <a:schemeClr val="tx2">
                  <a:lumMod val="50000"/>
                </a:schemeClr>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mation </a:t>
            </a:r>
            <a:r>
              <a:rPr lang="en-US" dirty="0" smtClean="0"/>
              <a:t>Approach</a:t>
            </a:r>
            <a:endParaRPr lang="en-US" dirty="0"/>
          </a:p>
        </p:txBody>
      </p:sp>
      <p:grpSp>
        <p:nvGrpSpPr>
          <p:cNvPr id="44" name="Group 43"/>
          <p:cNvGrpSpPr/>
          <p:nvPr/>
        </p:nvGrpSpPr>
        <p:grpSpPr>
          <a:xfrm>
            <a:off x="249786" y="1363626"/>
            <a:ext cx="9274845" cy="4856551"/>
            <a:chOff x="384837" y="1432244"/>
            <a:chExt cx="8836081" cy="4856551"/>
          </a:xfrm>
        </p:grpSpPr>
        <p:sp>
          <p:nvSpPr>
            <p:cNvPr id="45" name="Snip Diagonal Corner Rectangle 44"/>
            <p:cNvSpPr/>
            <p:nvPr/>
          </p:nvSpPr>
          <p:spPr>
            <a:xfrm>
              <a:off x="2270509" y="1432244"/>
              <a:ext cx="1675711" cy="423080"/>
            </a:xfrm>
            <a:prstGeom prst="snip2DiagRect">
              <a:avLst/>
            </a:prstGeom>
            <a:solidFill>
              <a:schemeClr val="accent2"/>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chemeClr val="bg1"/>
                  </a:solidFill>
                </a:rPr>
                <a:t>Preparation</a:t>
              </a:r>
            </a:p>
          </p:txBody>
        </p:sp>
        <p:sp>
          <p:nvSpPr>
            <p:cNvPr id="46" name="Snip Diagonal Corner Rectangle 45"/>
            <p:cNvSpPr/>
            <p:nvPr/>
          </p:nvSpPr>
          <p:spPr>
            <a:xfrm>
              <a:off x="511613" y="1445892"/>
              <a:ext cx="1675711" cy="423080"/>
            </a:xfrm>
            <a:prstGeom prst="snip2DiagRect">
              <a:avLst/>
            </a:prstGeom>
            <a:solidFill>
              <a:schemeClr val="accent2"/>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chemeClr val="bg1"/>
                  </a:solidFill>
                </a:rPr>
                <a:t>Automation Test Planning</a:t>
              </a:r>
            </a:p>
          </p:txBody>
        </p:sp>
        <p:sp>
          <p:nvSpPr>
            <p:cNvPr id="47" name="Snip Diagonal Corner Rectangle 46"/>
            <p:cNvSpPr/>
            <p:nvPr/>
          </p:nvSpPr>
          <p:spPr>
            <a:xfrm>
              <a:off x="4075345" y="1445892"/>
              <a:ext cx="1675711" cy="423080"/>
            </a:xfrm>
            <a:prstGeom prst="snip2DiagRect">
              <a:avLst/>
            </a:prstGeom>
            <a:solidFill>
              <a:schemeClr val="accent2"/>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chemeClr val="bg1"/>
                  </a:solidFill>
                </a:rPr>
                <a:t>Automation Development</a:t>
              </a:r>
            </a:p>
          </p:txBody>
        </p:sp>
        <p:sp>
          <p:nvSpPr>
            <p:cNvPr id="48" name="Snip Diagonal Corner Rectangle 47"/>
            <p:cNvSpPr/>
            <p:nvPr/>
          </p:nvSpPr>
          <p:spPr>
            <a:xfrm>
              <a:off x="5810278" y="1445892"/>
              <a:ext cx="1675711" cy="423080"/>
            </a:xfrm>
            <a:prstGeom prst="snip2DiagRect">
              <a:avLst/>
            </a:prstGeom>
            <a:solidFill>
              <a:schemeClr val="accent2"/>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chemeClr val="bg1"/>
                  </a:solidFill>
                </a:rPr>
                <a:t>Automation Test  Execution</a:t>
              </a:r>
            </a:p>
          </p:txBody>
        </p:sp>
        <p:sp>
          <p:nvSpPr>
            <p:cNvPr id="49" name="Snip Diagonal Corner Rectangle 48"/>
            <p:cNvSpPr/>
            <p:nvPr/>
          </p:nvSpPr>
          <p:spPr>
            <a:xfrm>
              <a:off x="7545207" y="1445892"/>
              <a:ext cx="1675711" cy="423080"/>
            </a:xfrm>
            <a:prstGeom prst="snip2DiagRect">
              <a:avLst/>
            </a:prstGeom>
            <a:solidFill>
              <a:schemeClr val="accent2"/>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smtClean="0">
                  <a:solidFill>
                    <a:schemeClr val="bg1"/>
                  </a:solidFill>
                </a:rPr>
                <a:t>Completion</a:t>
              </a:r>
            </a:p>
          </p:txBody>
        </p:sp>
        <p:sp>
          <p:nvSpPr>
            <p:cNvPr id="50" name="Rounded Rectangle 49"/>
            <p:cNvSpPr/>
            <p:nvPr/>
          </p:nvSpPr>
          <p:spPr>
            <a:xfrm>
              <a:off x="4095705" y="2045150"/>
              <a:ext cx="1545389" cy="653972"/>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Develop Script using </a:t>
              </a:r>
              <a:br>
                <a:rPr lang="en-US" sz="1000" dirty="0" smtClean="0">
                  <a:solidFill>
                    <a:schemeClr val="tx2">
                      <a:lumMod val="50000"/>
                    </a:schemeClr>
                  </a:solidFill>
                </a:rPr>
              </a:br>
              <a:r>
                <a:rPr lang="en-US" sz="1000" dirty="0" smtClean="0">
                  <a:solidFill>
                    <a:schemeClr val="tx2">
                      <a:lumMod val="50000"/>
                    </a:schemeClr>
                  </a:solidFill>
                </a:rPr>
                <a:t>Selenium Framework</a:t>
              </a:r>
            </a:p>
          </p:txBody>
        </p:sp>
        <p:sp>
          <p:nvSpPr>
            <p:cNvPr id="51" name="Rounded Rectangle 50"/>
            <p:cNvSpPr/>
            <p:nvPr/>
          </p:nvSpPr>
          <p:spPr>
            <a:xfrm>
              <a:off x="5875440" y="2007341"/>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Dry Run of  test scripts and Demo</a:t>
              </a:r>
            </a:p>
          </p:txBody>
        </p:sp>
        <p:sp>
          <p:nvSpPr>
            <p:cNvPr id="52" name="Rounded Rectangle 51"/>
            <p:cNvSpPr/>
            <p:nvPr/>
          </p:nvSpPr>
          <p:spPr>
            <a:xfrm>
              <a:off x="5889085" y="3194169"/>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Validate scripts for given release/project.</a:t>
              </a:r>
            </a:p>
          </p:txBody>
        </p:sp>
        <p:sp>
          <p:nvSpPr>
            <p:cNvPr id="53" name="Rounded Rectangle 52"/>
            <p:cNvSpPr/>
            <p:nvPr/>
          </p:nvSpPr>
          <p:spPr>
            <a:xfrm>
              <a:off x="551138" y="2055915"/>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Define Automation strategy</a:t>
              </a:r>
            </a:p>
          </p:txBody>
        </p:sp>
        <p:sp>
          <p:nvSpPr>
            <p:cNvPr id="54" name="Rounded Rectangle 53"/>
            <p:cNvSpPr/>
            <p:nvPr/>
          </p:nvSpPr>
          <p:spPr>
            <a:xfrm>
              <a:off x="4089344" y="2788627"/>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Create test Suite scripts with common functionality for execution </a:t>
              </a:r>
            </a:p>
          </p:txBody>
        </p:sp>
        <p:sp>
          <p:nvSpPr>
            <p:cNvPr id="55" name="Rounded Rectangle 54"/>
            <p:cNvSpPr/>
            <p:nvPr/>
          </p:nvSpPr>
          <p:spPr>
            <a:xfrm>
              <a:off x="7675529" y="2020989"/>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Test Completion Report</a:t>
              </a:r>
            </a:p>
          </p:txBody>
        </p:sp>
        <p:sp>
          <p:nvSpPr>
            <p:cNvPr id="56" name="Rounded Rectangle 55"/>
            <p:cNvSpPr/>
            <p:nvPr/>
          </p:nvSpPr>
          <p:spPr>
            <a:xfrm>
              <a:off x="535833" y="2730860"/>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Set up automation tools</a:t>
              </a:r>
            </a:p>
          </p:txBody>
        </p:sp>
        <p:sp>
          <p:nvSpPr>
            <p:cNvPr id="57" name="Rounded Rectangle 56"/>
            <p:cNvSpPr/>
            <p:nvPr/>
          </p:nvSpPr>
          <p:spPr>
            <a:xfrm>
              <a:off x="522640" y="3402991"/>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Prepare detailed </a:t>
              </a:r>
              <a:br>
                <a:rPr lang="en-US" sz="1000" dirty="0" smtClean="0">
                  <a:solidFill>
                    <a:schemeClr val="tx2">
                      <a:lumMod val="50000"/>
                    </a:schemeClr>
                  </a:solidFill>
                </a:rPr>
              </a:br>
              <a:r>
                <a:rPr lang="en-US" sz="1000" dirty="0" smtClean="0">
                  <a:solidFill>
                    <a:schemeClr val="tx2">
                      <a:lumMod val="50000"/>
                    </a:schemeClr>
                  </a:solidFill>
                </a:rPr>
                <a:t>Test Approach</a:t>
              </a:r>
            </a:p>
          </p:txBody>
        </p:sp>
        <p:sp>
          <p:nvSpPr>
            <p:cNvPr id="59" name="Rounded Rectangle 58"/>
            <p:cNvSpPr/>
            <p:nvPr/>
          </p:nvSpPr>
          <p:spPr>
            <a:xfrm>
              <a:off x="2376615" y="2001323"/>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Workflow design for  identified scope</a:t>
              </a:r>
            </a:p>
          </p:txBody>
        </p:sp>
        <p:sp>
          <p:nvSpPr>
            <p:cNvPr id="60" name="Rounded Rectangle 59"/>
            <p:cNvSpPr/>
            <p:nvPr/>
          </p:nvSpPr>
          <p:spPr>
            <a:xfrm>
              <a:off x="4105365" y="3378098"/>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Develop Common Classes, function and Utility </a:t>
              </a:r>
            </a:p>
          </p:txBody>
        </p:sp>
        <p:sp>
          <p:nvSpPr>
            <p:cNvPr id="61" name="Rounded Rectangle 60"/>
            <p:cNvSpPr/>
            <p:nvPr/>
          </p:nvSpPr>
          <p:spPr>
            <a:xfrm>
              <a:off x="384837" y="5101937"/>
              <a:ext cx="1545389" cy="823784"/>
            </a:xfrm>
            <a:prstGeom prst="roundRect">
              <a:avLst/>
            </a:prstGeom>
            <a:solidFill>
              <a:schemeClr val="accent2">
                <a:lumMod val="20000"/>
                <a:lumOff val="80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marL="141288" indent="-141288">
                <a:buClr>
                  <a:schemeClr val="accent5"/>
                </a:buClr>
                <a:buFont typeface="Wingdings" pitchFamily="2" charset="2"/>
                <a:buChar char="§"/>
              </a:pPr>
              <a:r>
                <a:rPr lang="en-US" sz="1000" dirty="0" smtClean="0">
                  <a:solidFill>
                    <a:schemeClr val="tx2">
                      <a:lumMod val="50000"/>
                    </a:schemeClr>
                  </a:solidFill>
                </a:rPr>
                <a:t>Automation strategy</a:t>
              </a:r>
            </a:p>
            <a:p>
              <a:pPr marL="141288" indent="-141288">
                <a:buClr>
                  <a:schemeClr val="accent5"/>
                </a:buClr>
                <a:buFont typeface="Wingdings" pitchFamily="2" charset="2"/>
                <a:buChar char="§"/>
              </a:pPr>
              <a:r>
                <a:rPr lang="en-US" sz="1000" dirty="0" smtClean="0">
                  <a:solidFill>
                    <a:schemeClr val="tx2">
                      <a:lumMod val="50000"/>
                    </a:schemeClr>
                  </a:solidFill>
                </a:rPr>
                <a:t>Test Plan</a:t>
              </a:r>
            </a:p>
          </p:txBody>
        </p:sp>
        <p:sp>
          <p:nvSpPr>
            <p:cNvPr id="62" name="Rounded Rectangle 61"/>
            <p:cNvSpPr/>
            <p:nvPr/>
          </p:nvSpPr>
          <p:spPr>
            <a:xfrm>
              <a:off x="4256110" y="5101937"/>
              <a:ext cx="1545389" cy="820562"/>
            </a:xfrm>
            <a:prstGeom prst="roundRect">
              <a:avLst/>
            </a:prstGeom>
            <a:solidFill>
              <a:schemeClr val="accent2">
                <a:lumMod val="20000"/>
                <a:lumOff val="80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marL="141288" indent="-141288">
                <a:buClr>
                  <a:schemeClr val="accent5"/>
                </a:buClr>
                <a:buFont typeface="Wingdings" pitchFamily="2" charset="2"/>
                <a:buChar char="§"/>
              </a:pPr>
              <a:r>
                <a:rPr lang="en-US" sz="1000" dirty="0" smtClean="0">
                  <a:solidFill>
                    <a:schemeClr val="tx2">
                      <a:lumMod val="50000"/>
                    </a:schemeClr>
                  </a:solidFill>
                </a:rPr>
                <a:t>Traceability Matrix </a:t>
              </a:r>
            </a:p>
            <a:p>
              <a:pPr marL="141288" indent="-141288">
                <a:buClr>
                  <a:schemeClr val="accent5"/>
                </a:buClr>
                <a:buFont typeface="Wingdings" pitchFamily="2" charset="2"/>
                <a:buChar char="§"/>
              </a:pPr>
              <a:r>
                <a:rPr lang="en-US" sz="1000" dirty="0" smtClean="0">
                  <a:solidFill>
                    <a:schemeClr val="tx2">
                      <a:lumMod val="50000"/>
                    </a:schemeClr>
                  </a:solidFill>
                </a:rPr>
                <a:t>Test Scripts</a:t>
              </a:r>
            </a:p>
          </p:txBody>
        </p:sp>
        <p:sp>
          <p:nvSpPr>
            <p:cNvPr id="63" name="Rounded Rectangle 62"/>
            <p:cNvSpPr/>
            <p:nvPr/>
          </p:nvSpPr>
          <p:spPr>
            <a:xfrm>
              <a:off x="5875440" y="5093699"/>
              <a:ext cx="1545389" cy="828800"/>
            </a:xfrm>
            <a:prstGeom prst="roundRect">
              <a:avLst/>
            </a:prstGeom>
            <a:solidFill>
              <a:schemeClr val="accent2">
                <a:lumMod val="20000"/>
                <a:lumOff val="80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marL="141288" indent="-141288">
                <a:buClr>
                  <a:schemeClr val="accent5"/>
                </a:buClr>
                <a:buFont typeface="Wingdings" pitchFamily="2" charset="2"/>
                <a:buChar char="§"/>
              </a:pPr>
              <a:r>
                <a:rPr lang="en-US" sz="1000" dirty="0" smtClean="0">
                  <a:solidFill>
                    <a:schemeClr val="tx2">
                      <a:lumMod val="50000"/>
                    </a:schemeClr>
                  </a:solidFill>
                </a:rPr>
                <a:t>Test Results with Screenshots</a:t>
              </a:r>
            </a:p>
          </p:txBody>
        </p:sp>
        <p:sp>
          <p:nvSpPr>
            <p:cNvPr id="64" name="Rounded Rectangle 63"/>
            <p:cNvSpPr/>
            <p:nvPr/>
          </p:nvSpPr>
          <p:spPr>
            <a:xfrm>
              <a:off x="7610369" y="5093699"/>
              <a:ext cx="1545389" cy="828800"/>
            </a:xfrm>
            <a:prstGeom prst="roundRect">
              <a:avLst/>
            </a:prstGeom>
            <a:solidFill>
              <a:schemeClr val="accent2">
                <a:lumMod val="20000"/>
                <a:lumOff val="80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marL="141288" indent="-141288">
                <a:buClr>
                  <a:schemeClr val="accent5"/>
                </a:buClr>
                <a:buFont typeface="Wingdings" pitchFamily="2" charset="2"/>
                <a:buChar char="§"/>
              </a:pPr>
              <a:r>
                <a:rPr lang="en-US" sz="1000" dirty="0" smtClean="0">
                  <a:solidFill>
                    <a:schemeClr val="tx2">
                      <a:lumMod val="50000"/>
                    </a:schemeClr>
                  </a:solidFill>
                </a:rPr>
                <a:t>Test Completion report</a:t>
              </a:r>
            </a:p>
          </p:txBody>
        </p:sp>
        <p:cxnSp>
          <p:nvCxnSpPr>
            <p:cNvPr id="65" name="Straight Arrow Connector 64"/>
            <p:cNvCxnSpPr>
              <a:cxnSpLocks/>
            </p:cNvCxnSpPr>
            <p:nvPr/>
          </p:nvCxnSpPr>
          <p:spPr>
            <a:xfrm>
              <a:off x="4045736" y="1966398"/>
              <a:ext cx="0" cy="2872889"/>
            </a:xfrm>
            <a:prstGeom prst="straightConnector1">
              <a:avLst/>
            </a:prstGeom>
            <a:ln w="28575">
              <a:solidFill>
                <a:schemeClr val="accent3"/>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cxnSpLocks/>
            </p:cNvCxnSpPr>
            <p:nvPr/>
          </p:nvCxnSpPr>
          <p:spPr>
            <a:xfrm>
              <a:off x="2310804" y="1966398"/>
              <a:ext cx="0" cy="2872889"/>
            </a:xfrm>
            <a:prstGeom prst="straightConnector1">
              <a:avLst/>
            </a:prstGeom>
            <a:ln w="28575">
              <a:solidFill>
                <a:schemeClr val="accent3"/>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cxnSpLocks/>
            </p:cNvCxnSpPr>
            <p:nvPr/>
          </p:nvCxnSpPr>
          <p:spPr>
            <a:xfrm>
              <a:off x="5780667" y="1966398"/>
              <a:ext cx="0" cy="2872889"/>
            </a:xfrm>
            <a:prstGeom prst="straightConnector1">
              <a:avLst/>
            </a:prstGeom>
            <a:ln w="28575">
              <a:solidFill>
                <a:schemeClr val="accent3"/>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cxnSpLocks/>
            </p:cNvCxnSpPr>
            <p:nvPr/>
          </p:nvCxnSpPr>
          <p:spPr>
            <a:xfrm>
              <a:off x="7515598" y="1966398"/>
              <a:ext cx="0" cy="2872889"/>
            </a:xfrm>
            <a:prstGeom prst="straightConnector1">
              <a:avLst/>
            </a:prstGeom>
            <a:ln w="28575">
              <a:solidFill>
                <a:schemeClr val="accent3"/>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9" name="Group 16"/>
            <p:cNvGrpSpPr/>
            <p:nvPr/>
          </p:nvGrpSpPr>
          <p:grpSpPr>
            <a:xfrm>
              <a:off x="622386" y="6058582"/>
              <a:ext cx="1148677" cy="230212"/>
              <a:chOff x="304618" y="6058582"/>
              <a:chExt cx="1244400" cy="230212"/>
            </a:xfrm>
          </p:grpSpPr>
          <p:sp>
            <p:nvSpPr>
              <p:cNvPr id="82" name="Snip Diagonal Corner Rectangle 30"/>
              <p:cNvSpPr>
                <a:spLocks/>
              </p:cNvSpPr>
              <p:nvPr/>
            </p:nvSpPr>
            <p:spPr>
              <a:xfrm>
                <a:off x="304618" y="6058582"/>
                <a:ext cx="333640" cy="230212"/>
              </a:xfrm>
              <a:prstGeom prst="snip2DiagRect">
                <a:avLst/>
              </a:prstGeom>
              <a:solidFill>
                <a:schemeClr val="accent2"/>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000" b="1" dirty="0" smtClean="0">
                  <a:solidFill>
                    <a:schemeClr val="bg1"/>
                  </a:solidFill>
                </a:endParaRPr>
              </a:p>
            </p:txBody>
          </p:sp>
          <p:sp>
            <p:nvSpPr>
              <p:cNvPr id="83" name="TextBox 31"/>
              <p:cNvSpPr txBox="1"/>
              <p:nvPr/>
            </p:nvSpPr>
            <p:spPr>
              <a:xfrm>
                <a:off x="708567" y="6096744"/>
                <a:ext cx="840451" cy="153888"/>
              </a:xfrm>
              <a:prstGeom prst="rect">
                <a:avLst/>
              </a:prstGeom>
              <a:noFill/>
            </p:spPr>
            <p:txBody>
              <a:bodyPr wrap="none" lIns="0" tIns="0" rIns="0" bIns="0" rtlCol="0" anchor="ctr">
                <a:spAutoFit/>
              </a:bodyPr>
              <a:lstStyle/>
              <a:p>
                <a:r>
                  <a:rPr lang="en-US" sz="1000" dirty="0" smtClean="0">
                    <a:solidFill>
                      <a:schemeClr val="tx2">
                        <a:lumMod val="50000"/>
                      </a:schemeClr>
                    </a:solidFill>
                  </a:rPr>
                  <a:t>Testing Phase</a:t>
                </a:r>
              </a:p>
            </p:txBody>
          </p:sp>
        </p:grpSp>
        <p:grpSp>
          <p:nvGrpSpPr>
            <p:cNvPr id="70" name="Group 10"/>
            <p:cNvGrpSpPr/>
            <p:nvPr/>
          </p:nvGrpSpPr>
          <p:grpSpPr>
            <a:xfrm>
              <a:off x="1829776" y="6058584"/>
              <a:ext cx="764443" cy="230211"/>
              <a:chOff x="1559076" y="6058583"/>
              <a:chExt cx="828147" cy="230211"/>
            </a:xfrm>
          </p:grpSpPr>
          <p:sp>
            <p:nvSpPr>
              <p:cNvPr id="80" name="Rounded Rectangle 79"/>
              <p:cNvSpPr>
                <a:spLocks/>
              </p:cNvSpPr>
              <p:nvPr/>
            </p:nvSpPr>
            <p:spPr>
              <a:xfrm>
                <a:off x="1559076" y="6058583"/>
                <a:ext cx="333640" cy="230211"/>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000" dirty="0" smtClean="0">
                  <a:solidFill>
                    <a:schemeClr val="tx2">
                      <a:lumMod val="50000"/>
                    </a:schemeClr>
                  </a:solidFill>
                </a:endParaRPr>
              </a:p>
            </p:txBody>
          </p:sp>
          <p:sp>
            <p:nvSpPr>
              <p:cNvPr id="81" name="TextBox 80"/>
              <p:cNvSpPr txBox="1"/>
              <p:nvPr/>
            </p:nvSpPr>
            <p:spPr>
              <a:xfrm>
                <a:off x="1968651" y="6096744"/>
                <a:ext cx="418572" cy="153888"/>
              </a:xfrm>
              <a:prstGeom prst="rect">
                <a:avLst/>
              </a:prstGeom>
              <a:noFill/>
            </p:spPr>
            <p:txBody>
              <a:bodyPr wrap="none" lIns="0" tIns="0" rIns="0" bIns="0" rtlCol="0" anchor="ctr">
                <a:spAutoFit/>
              </a:bodyPr>
              <a:lstStyle/>
              <a:p>
                <a:r>
                  <a:rPr lang="en-US" sz="1000" dirty="0" smtClean="0">
                    <a:solidFill>
                      <a:schemeClr val="tx2">
                        <a:lumMod val="50000"/>
                      </a:schemeClr>
                    </a:solidFill>
                  </a:rPr>
                  <a:t>Activity</a:t>
                </a:r>
              </a:p>
            </p:txBody>
          </p:sp>
        </p:grpSp>
        <p:grpSp>
          <p:nvGrpSpPr>
            <p:cNvPr id="71" name="Group 4"/>
            <p:cNvGrpSpPr/>
            <p:nvPr/>
          </p:nvGrpSpPr>
          <p:grpSpPr>
            <a:xfrm>
              <a:off x="2665029" y="6058584"/>
              <a:ext cx="1022126" cy="230211"/>
              <a:chOff x="2423359" y="6058583"/>
              <a:chExt cx="1107306" cy="230211"/>
            </a:xfrm>
          </p:grpSpPr>
          <p:sp>
            <p:nvSpPr>
              <p:cNvPr id="78" name="Rounded Rectangle 77"/>
              <p:cNvSpPr>
                <a:spLocks/>
              </p:cNvSpPr>
              <p:nvPr/>
            </p:nvSpPr>
            <p:spPr>
              <a:xfrm>
                <a:off x="2423359" y="6058583"/>
                <a:ext cx="333640" cy="230211"/>
              </a:xfrm>
              <a:prstGeom prst="roundRect">
                <a:avLst/>
              </a:prstGeom>
              <a:solidFill>
                <a:schemeClr val="accent2">
                  <a:lumMod val="20000"/>
                  <a:lumOff val="80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endParaRPr lang="en-US" sz="1000" dirty="0" smtClean="0">
                  <a:solidFill>
                    <a:schemeClr val="tx2">
                      <a:lumMod val="50000"/>
                    </a:schemeClr>
                  </a:solidFill>
                </a:endParaRPr>
              </a:p>
            </p:txBody>
          </p:sp>
          <p:sp>
            <p:nvSpPr>
              <p:cNvPr id="79" name="TextBox 78"/>
              <p:cNvSpPr txBox="1"/>
              <p:nvPr/>
            </p:nvSpPr>
            <p:spPr>
              <a:xfrm>
                <a:off x="2804366" y="6096744"/>
                <a:ext cx="726299" cy="153888"/>
              </a:xfrm>
              <a:prstGeom prst="rect">
                <a:avLst/>
              </a:prstGeom>
              <a:noFill/>
            </p:spPr>
            <p:txBody>
              <a:bodyPr wrap="none" lIns="0" tIns="0" rIns="0" bIns="0" rtlCol="0" anchor="ctr">
                <a:spAutoFit/>
              </a:bodyPr>
              <a:lstStyle/>
              <a:p>
                <a:r>
                  <a:rPr lang="en-US" sz="1000" dirty="0" smtClean="0">
                    <a:solidFill>
                      <a:schemeClr val="tx2">
                        <a:lumMod val="50000"/>
                      </a:schemeClr>
                    </a:solidFill>
                  </a:rPr>
                  <a:t>Deliverables</a:t>
                </a:r>
                <a:endParaRPr lang="en-US" sz="1000" dirty="0" smtClean="0">
                  <a:solidFill>
                    <a:schemeClr val="tx2">
                      <a:lumMod val="50000"/>
                    </a:schemeClr>
                  </a:solidFill>
                </a:endParaRPr>
              </a:p>
            </p:txBody>
          </p:sp>
        </p:grpSp>
        <p:sp>
          <p:nvSpPr>
            <p:cNvPr id="72" name="Rounded Rectangle 71"/>
            <p:cNvSpPr/>
            <p:nvPr/>
          </p:nvSpPr>
          <p:spPr>
            <a:xfrm>
              <a:off x="2006074" y="5112149"/>
              <a:ext cx="2186636" cy="813571"/>
            </a:xfrm>
            <a:prstGeom prst="roundRect">
              <a:avLst/>
            </a:prstGeom>
            <a:solidFill>
              <a:schemeClr val="accent2">
                <a:lumMod val="20000"/>
                <a:lumOff val="80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marL="141288" indent="-141288">
                <a:buClr>
                  <a:schemeClr val="accent5"/>
                </a:buClr>
                <a:buFont typeface="Wingdings" pitchFamily="2" charset="2"/>
                <a:buChar char="§"/>
              </a:pPr>
              <a:r>
                <a:rPr lang="en-US" sz="1000" dirty="0" smtClean="0">
                  <a:solidFill>
                    <a:schemeClr val="tx2">
                      <a:lumMod val="50000"/>
                    </a:schemeClr>
                  </a:solidFill>
                </a:rPr>
                <a:t>Workflow design base lined and documented in detailed steps</a:t>
              </a:r>
            </a:p>
            <a:p>
              <a:pPr marL="141288" indent="-141288">
                <a:buClr>
                  <a:schemeClr val="accent5"/>
                </a:buClr>
                <a:buFont typeface="Wingdings" pitchFamily="2" charset="2"/>
                <a:buChar char="§"/>
              </a:pPr>
              <a:r>
                <a:rPr lang="en-US" sz="1000" dirty="0" smtClean="0">
                  <a:solidFill>
                    <a:schemeClr val="tx2">
                      <a:lumMod val="50000"/>
                    </a:schemeClr>
                  </a:solidFill>
                </a:rPr>
                <a:t>Test Results with screenshots for executed workflows</a:t>
              </a:r>
            </a:p>
            <a:p>
              <a:pPr marL="141288" indent="-141288">
                <a:buClr>
                  <a:schemeClr val="accent5"/>
                </a:buClr>
                <a:buFont typeface="Wingdings" pitchFamily="2" charset="2"/>
                <a:buChar char="§"/>
              </a:pPr>
              <a:endParaRPr lang="en-US" sz="1000" dirty="0">
                <a:solidFill>
                  <a:schemeClr val="tx2">
                    <a:lumMod val="50000"/>
                  </a:schemeClr>
                </a:solidFill>
              </a:endParaRPr>
            </a:p>
            <a:p>
              <a:pPr marL="141288" indent="-141288">
                <a:buClr>
                  <a:schemeClr val="accent5"/>
                </a:buClr>
                <a:buFont typeface="Wingdings" pitchFamily="2" charset="2"/>
                <a:buChar char="§"/>
              </a:pPr>
              <a:endParaRPr lang="en-US" sz="1000" dirty="0" smtClean="0">
                <a:solidFill>
                  <a:schemeClr val="tx2">
                    <a:lumMod val="50000"/>
                  </a:schemeClr>
                </a:solidFill>
              </a:endParaRPr>
            </a:p>
          </p:txBody>
        </p:sp>
        <p:sp>
          <p:nvSpPr>
            <p:cNvPr id="73" name="Rounded Rectangle 72"/>
            <p:cNvSpPr/>
            <p:nvPr/>
          </p:nvSpPr>
          <p:spPr>
            <a:xfrm>
              <a:off x="5861792" y="4305223"/>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Test Result generation and verification </a:t>
              </a:r>
            </a:p>
          </p:txBody>
        </p:sp>
        <p:sp>
          <p:nvSpPr>
            <p:cNvPr id="74" name="Rounded Rectangle 73"/>
            <p:cNvSpPr/>
            <p:nvPr/>
          </p:nvSpPr>
          <p:spPr>
            <a:xfrm>
              <a:off x="2404382" y="2664827"/>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Mapping of workflows with test scenarios</a:t>
              </a:r>
            </a:p>
          </p:txBody>
        </p:sp>
        <p:sp>
          <p:nvSpPr>
            <p:cNvPr id="75" name="Rounded Rectangle 74"/>
            <p:cNvSpPr/>
            <p:nvPr/>
          </p:nvSpPr>
          <p:spPr>
            <a:xfrm>
              <a:off x="2417389" y="3309502"/>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Creation of Page Class and of Utility class for the defined workflow.</a:t>
              </a:r>
            </a:p>
          </p:txBody>
        </p:sp>
        <p:sp>
          <p:nvSpPr>
            <p:cNvPr id="76" name="Rounded Rectangle 75"/>
            <p:cNvSpPr/>
            <p:nvPr/>
          </p:nvSpPr>
          <p:spPr>
            <a:xfrm>
              <a:off x="2408802" y="3953134"/>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Review of designed  workflows</a:t>
              </a:r>
            </a:p>
          </p:txBody>
        </p:sp>
        <p:sp>
          <p:nvSpPr>
            <p:cNvPr id="77" name="Rounded Rectangle 76"/>
            <p:cNvSpPr/>
            <p:nvPr/>
          </p:nvSpPr>
          <p:spPr>
            <a:xfrm>
              <a:off x="538107" y="4087655"/>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Prepare Dry Run Test Case</a:t>
              </a:r>
            </a:p>
          </p:txBody>
        </p:sp>
      </p:grpSp>
      <p:sp>
        <p:nvSpPr>
          <p:cNvPr id="43" name="Rounded Rectangle 42"/>
          <p:cNvSpPr/>
          <p:nvPr/>
        </p:nvSpPr>
        <p:spPr>
          <a:xfrm>
            <a:off x="6054748" y="2535424"/>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Identify scripts for </a:t>
            </a:r>
            <a:r>
              <a:rPr lang="en-US" sz="1000" dirty="0" err="1" smtClean="0">
                <a:solidFill>
                  <a:schemeClr val="tx2">
                    <a:lumMod val="50000"/>
                  </a:schemeClr>
                </a:solidFill>
              </a:rPr>
              <a:t>TestNG</a:t>
            </a:r>
            <a:r>
              <a:rPr lang="en-US" sz="1000" dirty="0" smtClean="0">
                <a:solidFill>
                  <a:schemeClr val="tx2">
                    <a:lumMod val="50000"/>
                  </a:schemeClr>
                </a:solidFill>
              </a:rPr>
              <a:t> execution </a:t>
            </a:r>
          </a:p>
        </p:txBody>
      </p:sp>
      <p:sp>
        <p:nvSpPr>
          <p:cNvPr id="84" name="Rounded Rectangle 83"/>
          <p:cNvSpPr/>
          <p:nvPr/>
        </p:nvSpPr>
        <p:spPr>
          <a:xfrm>
            <a:off x="2405803" y="4476679"/>
            <a:ext cx="1545389"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Dry Run and Demo of designed test case </a:t>
            </a:r>
          </a:p>
        </p:txBody>
      </p:sp>
      <p:sp>
        <p:nvSpPr>
          <p:cNvPr id="85" name="Rounded Rectangle 84"/>
          <p:cNvSpPr/>
          <p:nvPr/>
        </p:nvSpPr>
        <p:spPr>
          <a:xfrm>
            <a:off x="6027534" y="3680537"/>
            <a:ext cx="1622127" cy="502965"/>
          </a:xfrm>
          <a:prstGeom prst="roundRect">
            <a:avLst/>
          </a:prstGeom>
          <a:solidFill>
            <a:schemeClr val="bg1">
              <a:lumMod val="95000"/>
            </a:schemeClr>
          </a:solidFill>
          <a:ln w="9525">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00" dirty="0" smtClean="0">
                <a:solidFill>
                  <a:schemeClr val="tx2">
                    <a:lumMod val="50000"/>
                  </a:schemeClr>
                </a:solidFill>
              </a:rPr>
              <a:t>Prepare execution schedule using </a:t>
            </a:r>
            <a:r>
              <a:rPr lang="en-US" sz="1000" dirty="0" smtClean="0">
                <a:solidFill>
                  <a:schemeClr val="tx2">
                    <a:lumMod val="50000"/>
                  </a:schemeClr>
                </a:solidFill>
              </a:rPr>
              <a:t>JENKINS</a:t>
            </a:r>
            <a:endParaRPr lang="en-US" sz="10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57718" name="think-cell Slide" r:id="rId4" imgW="360" imgH="360" progId="">
              <p:embed/>
            </p:oleObj>
          </a:graphicData>
        </a:graphic>
      </p:graphicFrame>
      <p:sp>
        <p:nvSpPr>
          <p:cNvPr id="2" name="Titre 1"/>
          <p:cNvSpPr>
            <a:spLocks noGrp="1"/>
          </p:cNvSpPr>
          <p:nvPr>
            <p:ph type="title"/>
            <p:custDataLst>
              <p:tags r:id="rId2"/>
            </p:custDataLst>
          </p:nvPr>
        </p:nvSpPr>
        <p:spPr/>
        <p:txBody>
          <a:bodyPr/>
          <a:lstStyle/>
          <a:p>
            <a:r>
              <a:rPr lang="en-GB" dirty="0" smtClean="0"/>
              <a:t>Automation </a:t>
            </a:r>
            <a:r>
              <a:rPr lang="en-GB" dirty="0" smtClean="0"/>
              <a:t>Tools </a:t>
            </a:r>
            <a:r>
              <a:rPr lang="en-GB" dirty="0" smtClean="0"/>
              <a:t>&amp; Framework	</a:t>
            </a:r>
            <a:endParaRPr lang="en-GB" dirty="0"/>
          </a:p>
        </p:txBody>
      </p:sp>
      <p:sp>
        <p:nvSpPr>
          <p:cNvPr id="5" name="Rounded Rectangle 4"/>
          <p:cNvSpPr/>
          <p:nvPr/>
        </p:nvSpPr>
        <p:spPr bwMode="auto">
          <a:xfrm>
            <a:off x="120770" y="2144841"/>
            <a:ext cx="2762473" cy="3393286"/>
          </a:xfrm>
          <a:prstGeom prst="roundRect">
            <a:avLst>
              <a:gd name="adj" fmla="val 2219"/>
            </a:avLst>
          </a:prstGeom>
          <a:solidFill>
            <a:schemeClr val="bg1">
              <a:lumMod val="95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t"/>
          <a:lstStyle/>
          <a:p>
            <a:pPr marL="173736" indent="-166189" defTabSz="914342">
              <a:lnSpc>
                <a:spcPct val="90000"/>
              </a:lnSpc>
              <a:spcAft>
                <a:spcPts val="600"/>
              </a:spcAft>
              <a:buClr>
                <a:schemeClr val="accent5"/>
              </a:buClr>
              <a:buFont typeface="Wingdings" pitchFamily="2" charset="2"/>
              <a:buChar char="v"/>
              <a:defRPr/>
            </a:pPr>
            <a:r>
              <a:rPr lang="en-US" sz="1200" noProof="1" smtClean="0">
                <a:solidFill>
                  <a:schemeClr val="tx1"/>
                </a:solidFill>
              </a:rPr>
              <a:t>Automation Tool</a:t>
            </a:r>
          </a:p>
          <a:p>
            <a:pPr marL="652614" lvl="1" indent="-166189" defTabSz="914342">
              <a:lnSpc>
                <a:spcPct val="90000"/>
              </a:lnSpc>
              <a:spcAft>
                <a:spcPts val="600"/>
              </a:spcAft>
              <a:buClr>
                <a:schemeClr val="accent5"/>
              </a:buClr>
              <a:buFont typeface="Wingdings" pitchFamily="2" charset="2"/>
              <a:buChar char="§"/>
              <a:defRPr/>
            </a:pPr>
            <a:r>
              <a:rPr lang="en-US" sz="1200" noProof="1" smtClean="0">
                <a:solidFill>
                  <a:schemeClr val="tx1"/>
                </a:solidFill>
              </a:rPr>
              <a:t>Selenium – Web Driver</a:t>
            </a:r>
          </a:p>
          <a:p>
            <a:pPr marL="652614" lvl="1" indent="-166189" defTabSz="914342">
              <a:lnSpc>
                <a:spcPct val="90000"/>
              </a:lnSpc>
              <a:spcAft>
                <a:spcPts val="600"/>
              </a:spcAft>
              <a:buClr>
                <a:schemeClr val="accent5"/>
              </a:buClr>
              <a:defRPr/>
            </a:pPr>
            <a:r>
              <a:rPr lang="en-US" sz="1200" noProof="1" smtClean="0">
                <a:solidFill>
                  <a:schemeClr val="tx1"/>
                </a:solidFill>
              </a:rPr>
              <a:t> </a:t>
            </a:r>
          </a:p>
          <a:p>
            <a:pPr marL="173736" indent="-166189" defTabSz="914342">
              <a:lnSpc>
                <a:spcPct val="90000"/>
              </a:lnSpc>
              <a:spcAft>
                <a:spcPts val="600"/>
              </a:spcAft>
              <a:buClr>
                <a:schemeClr val="accent5"/>
              </a:buClr>
              <a:buFont typeface="Wingdings" pitchFamily="2" charset="2"/>
              <a:buChar char="v"/>
              <a:defRPr/>
            </a:pPr>
            <a:r>
              <a:rPr lang="en-US" sz="1200" noProof="1" smtClean="0">
                <a:solidFill>
                  <a:schemeClr val="tx1"/>
                </a:solidFill>
              </a:rPr>
              <a:t> Framework  and key benefit </a:t>
            </a:r>
          </a:p>
          <a:p>
            <a:pPr marL="652614" lvl="1" indent="-166189" defTabSz="914342">
              <a:lnSpc>
                <a:spcPct val="90000"/>
              </a:lnSpc>
              <a:spcAft>
                <a:spcPts val="600"/>
              </a:spcAft>
              <a:buClr>
                <a:schemeClr val="accent5"/>
              </a:buClr>
              <a:buFont typeface="Wingdings" pitchFamily="2" charset="2"/>
              <a:buChar char="§"/>
              <a:defRPr/>
            </a:pPr>
            <a:r>
              <a:rPr lang="en-US" sz="1200" noProof="1" smtClean="0">
                <a:solidFill>
                  <a:schemeClr val="tx1"/>
                </a:solidFill>
              </a:rPr>
              <a:t>Page Object Model  </a:t>
            </a:r>
          </a:p>
          <a:p>
            <a:pPr marL="652614" lvl="1" indent="-166189" defTabSz="914342">
              <a:lnSpc>
                <a:spcPct val="90000"/>
              </a:lnSpc>
              <a:spcAft>
                <a:spcPts val="600"/>
              </a:spcAft>
              <a:buClr>
                <a:schemeClr val="accent5"/>
              </a:buClr>
              <a:buFont typeface="Wingdings" pitchFamily="2" charset="2"/>
              <a:buChar char="§"/>
              <a:defRPr/>
            </a:pPr>
            <a:endParaRPr lang="en-US" sz="1200" noProof="1" smtClean="0">
              <a:solidFill>
                <a:schemeClr val="tx1"/>
              </a:solidFill>
            </a:endParaRPr>
          </a:p>
          <a:p>
            <a:pPr marL="652614" lvl="1" indent="-166189" defTabSz="914342">
              <a:lnSpc>
                <a:spcPct val="90000"/>
              </a:lnSpc>
              <a:spcAft>
                <a:spcPts val="600"/>
              </a:spcAft>
              <a:buClr>
                <a:schemeClr val="accent5"/>
              </a:buClr>
              <a:buFont typeface="Wingdings" pitchFamily="2" charset="2"/>
              <a:buChar char="§"/>
              <a:defRPr/>
            </a:pPr>
            <a:r>
              <a:rPr lang="en-US" sz="1200" noProof="1" smtClean="0">
                <a:solidFill>
                  <a:schemeClr val="tx1"/>
                </a:solidFill>
              </a:rPr>
              <a:t>Page Object Patten says operations and flows in the UI should be separated from verification. </a:t>
            </a:r>
          </a:p>
          <a:p>
            <a:pPr marL="652614" lvl="1" indent="-166189" defTabSz="914342">
              <a:lnSpc>
                <a:spcPct val="90000"/>
              </a:lnSpc>
              <a:spcAft>
                <a:spcPts val="600"/>
              </a:spcAft>
              <a:buClr>
                <a:schemeClr val="accent5"/>
              </a:buClr>
              <a:buFont typeface="Wingdings" pitchFamily="2" charset="2"/>
              <a:buChar char="§"/>
              <a:defRPr/>
            </a:pPr>
            <a:endParaRPr lang="en-US" sz="1200" noProof="1" smtClean="0">
              <a:solidFill>
                <a:schemeClr val="tx1"/>
              </a:solidFill>
            </a:endParaRPr>
          </a:p>
          <a:p>
            <a:pPr marL="652614" lvl="1" indent="-166189" defTabSz="914342">
              <a:lnSpc>
                <a:spcPct val="90000"/>
              </a:lnSpc>
              <a:spcAft>
                <a:spcPts val="600"/>
              </a:spcAft>
              <a:buClr>
                <a:schemeClr val="accent5"/>
              </a:buClr>
              <a:buFont typeface="Wingdings" pitchFamily="2" charset="2"/>
              <a:buChar char="§"/>
              <a:defRPr/>
            </a:pPr>
            <a:r>
              <a:rPr lang="en-US" sz="1200" noProof="1" smtClean="0">
                <a:solidFill>
                  <a:schemeClr val="tx1"/>
                </a:solidFill>
              </a:rPr>
              <a:t>Code becomes less and optimized because of the reusable page methods in the POM classes.</a:t>
            </a:r>
          </a:p>
          <a:p>
            <a:pPr marL="652614" lvl="1" indent="-166189" defTabSz="914342">
              <a:lnSpc>
                <a:spcPct val="90000"/>
              </a:lnSpc>
              <a:spcAft>
                <a:spcPts val="600"/>
              </a:spcAft>
              <a:buClr>
                <a:schemeClr val="accent5"/>
              </a:buClr>
              <a:buFont typeface="Wingdings" pitchFamily="2" charset="2"/>
              <a:buChar char="§"/>
              <a:defRPr/>
            </a:pPr>
            <a:endParaRPr lang="en-US" sz="1400" noProof="1" smtClean="0">
              <a:solidFill>
                <a:schemeClr val="tx1"/>
              </a:solidFill>
            </a:endParaRPr>
          </a:p>
          <a:p>
            <a:pPr marL="652614" lvl="1" indent="-166189" defTabSz="914342">
              <a:lnSpc>
                <a:spcPct val="90000"/>
              </a:lnSpc>
              <a:spcAft>
                <a:spcPts val="600"/>
              </a:spcAft>
              <a:buClr>
                <a:schemeClr val="accent5"/>
              </a:buClr>
              <a:buFont typeface="Wingdings" pitchFamily="2" charset="2"/>
              <a:buChar char="§"/>
              <a:defRPr/>
            </a:pPr>
            <a:endParaRPr lang="en-US" sz="1400" noProof="1" smtClean="0">
              <a:solidFill>
                <a:schemeClr val="tx1"/>
              </a:solidFill>
            </a:endParaRPr>
          </a:p>
          <a:p>
            <a:pPr marL="652614" lvl="1" indent="-166189" defTabSz="914342">
              <a:lnSpc>
                <a:spcPct val="90000"/>
              </a:lnSpc>
              <a:spcAft>
                <a:spcPts val="600"/>
              </a:spcAft>
              <a:buClr>
                <a:schemeClr val="accent5"/>
              </a:buClr>
              <a:buFont typeface="Wingdings" pitchFamily="2" charset="2"/>
              <a:buChar char="§"/>
              <a:defRPr/>
            </a:pPr>
            <a:endParaRPr lang="en-US" sz="1400" noProof="1" smtClean="0">
              <a:solidFill>
                <a:schemeClr val="tx1"/>
              </a:solidFill>
            </a:endParaRPr>
          </a:p>
          <a:p>
            <a:pPr marL="173736" indent="-166189" defTabSz="914342">
              <a:lnSpc>
                <a:spcPct val="90000"/>
              </a:lnSpc>
              <a:spcAft>
                <a:spcPts val="600"/>
              </a:spcAft>
              <a:buClr>
                <a:schemeClr val="accent5"/>
              </a:buClr>
              <a:defRPr/>
            </a:pPr>
            <a:endParaRPr lang="en-GB" sz="1400" dirty="0" smtClean="0">
              <a:solidFill>
                <a:schemeClr val="tx2">
                  <a:lumMod val="50000"/>
                </a:schemeClr>
              </a:solidFill>
            </a:endParaRPr>
          </a:p>
          <a:p>
            <a:pPr marL="173736" indent="-173736">
              <a:spcBef>
                <a:spcPts val="300"/>
              </a:spcBef>
              <a:spcAft>
                <a:spcPts val="300"/>
              </a:spcAft>
              <a:buClr>
                <a:schemeClr val="accent5"/>
              </a:buClr>
              <a:buFont typeface="Wingdings" pitchFamily="2" charset="2"/>
              <a:buChar char="§"/>
              <a:defRPr/>
            </a:pPr>
            <a:endParaRPr lang="en-GB" sz="1400" noProof="1" smtClean="0">
              <a:solidFill>
                <a:schemeClr val="tx2">
                  <a:lumMod val="50000"/>
                </a:schemeClr>
              </a:solidFill>
            </a:endParaRPr>
          </a:p>
        </p:txBody>
      </p:sp>
      <p:pic>
        <p:nvPicPr>
          <p:cNvPr id="157717" name="Picture 21" descr="https://entercard.atlassian.net/wiki/download/attachments/188145137/image2017-8-1_13-0-22.png?version=1&amp;modificationDate=1501572627734&amp;cacheVersion=1&amp;api=v2"/>
          <p:cNvPicPr>
            <a:picLocks noChangeAspect="1" noChangeArrowheads="1"/>
          </p:cNvPicPr>
          <p:nvPr/>
        </p:nvPicPr>
        <p:blipFill>
          <a:blip r:embed="rId5" cstate="print"/>
          <a:srcRect/>
          <a:stretch>
            <a:fillRect/>
          </a:stretch>
        </p:blipFill>
        <p:spPr bwMode="auto">
          <a:xfrm>
            <a:off x="2945029" y="1112108"/>
            <a:ext cx="6882713" cy="5222792"/>
          </a:xfrm>
          <a:prstGeom prst="rect">
            <a:avLst/>
          </a:prstGeom>
          <a:noFill/>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 name="Double Bracket 270"/>
          <p:cNvSpPr/>
          <p:nvPr/>
        </p:nvSpPr>
        <p:spPr>
          <a:xfrm rot="16200000">
            <a:off x="2743996" y="1957770"/>
            <a:ext cx="3729163" cy="3057752"/>
          </a:xfrm>
          <a:prstGeom prst="bracketPair">
            <a:avLst/>
          </a:prstGeom>
          <a:solidFill>
            <a:srgbClr val="CDF2FF">
              <a:alpha val="46000"/>
            </a:srgbClr>
          </a:solidFill>
          <a:ln w="76200" cmpd="sng">
            <a:solidFill>
              <a:schemeClr val="accent5">
                <a:alpha val="96000"/>
              </a:schemeClr>
            </a:solidFill>
            <a:prstDash val="solid"/>
          </a:ln>
          <a:effectLst>
            <a:outerShdw blurRad="76200" dist="12700" dir="2700000" sy="-23000" kx="-800400" algn="b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latin typeface="Calibri" pitchFamily="34" charset="0"/>
              </a:rPr>
              <a:t>Automation Plan</a:t>
            </a:r>
            <a:endParaRPr lang="en-US" dirty="0">
              <a:latin typeface="Calibri" pitchFamily="34" charset="0"/>
            </a:endParaRPr>
          </a:p>
        </p:txBody>
      </p:sp>
      <p:graphicFrame>
        <p:nvGraphicFramePr>
          <p:cNvPr id="103" name="Content Placeholder 3"/>
          <p:cNvGraphicFramePr>
            <a:graphicFrameLocks/>
          </p:cNvGraphicFramePr>
          <p:nvPr/>
        </p:nvGraphicFramePr>
        <p:xfrm>
          <a:off x="444622" y="1709530"/>
          <a:ext cx="9461378" cy="35525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13" name="Group 112"/>
          <p:cNvGrpSpPr/>
          <p:nvPr/>
        </p:nvGrpSpPr>
        <p:grpSpPr>
          <a:xfrm>
            <a:off x="679612" y="3899138"/>
            <a:ext cx="545333" cy="674159"/>
            <a:chOff x="593352" y="3881886"/>
            <a:chExt cx="545333" cy="674159"/>
          </a:xfrm>
        </p:grpSpPr>
        <p:grpSp>
          <p:nvGrpSpPr>
            <p:cNvPr id="104" name="Group 103"/>
            <p:cNvGrpSpPr>
              <a:grpSpLocks noChangeAspect="1"/>
            </p:cNvGrpSpPr>
            <p:nvPr/>
          </p:nvGrpSpPr>
          <p:grpSpPr>
            <a:xfrm>
              <a:off x="646980" y="3881886"/>
              <a:ext cx="353684" cy="414067"/>
              <a:chOff x="2526619" y="3231420"/>
              <a:chExt cx="1325880" cy="2447151"/>
            </a:xfrm>
          </p:grpSpPr>
          <p:sp>
            <p:nvSpPr>
              <p:cNvPr id="105" name="Rounded Rectangle 104"/>
              <p:cNvSpPr/>
              <p:nvPr/>
            </p:nvSpPr>
            <p:spPr>
              <a:xfrm>
                <a:off x="2526619" y="4539657"/>
                <a:ext cx="1325880" cy="1138914"/>
              </a:xfrm>
              <a:prstGeom prst="roundRect">
                <a:avLst>
                  <a:gd name="adj" fmla="val 5138"/>
                </a:avLst>
              </a:prstGeom>
              <a:solidFill>
                <a:srgbClr val="C11D07"/>
              </a:solidFill>
              <a:ln w="25400" cap="flat" cmpd="sng" algn="ctr">
                <a:noFill/>
                <a:prstDash val="solid"/>
              </a:ln>
              <a:effectLst>
                <a:outerShdw blurRad="317500" dist="38100" dir="5400000" algn="t" rotWithShape="0">
                  <a:prstClr val="black">
                    <a:alpha val="65000"/>
                  </a:prstClr>
                </a:outerShdw>
              </a:effectLst>
              <a:scene3d>
                <a:camera prst="perspectiveRelaxed" fov="7200000">
                  <a:rot lat="17673596" lon="0" rev="0"/>
                </a:camera>
                <a:lightRig rig="threePt" dir="t">
                  <a:rot lat="0" lon="0" rev="10200000"/>
                </a:lightRig>
              </a:scene3d>
              <a:sp3d extrusionH="38100" prstMaterial="plastic">
                <a:bevelT w="50800" h="508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06" name="Isosceles Triangle 35"/>
              <p:cNvSpPr/>
              <p:nvPr/>
            </p:nvSpPr>
            <p:spPr>
              <a:xfrm>
                <a:off x="2701879" y="3231420"/>
                <a:ext cx="975360" cy="2069621"/>
              </a:xfrm>
              <a:custGeom>
                <a:avLst/>
                <a:gdLst>
                  <a:gd name="connsiteX0" fmla="*/ 509840 w 975360"/>
                  <a:gd name="connsiteY0" fmla="*/ 792 h 2069621"/>
                  <a:gd name="connsiteX1" fmla="*/ 563039 w 975360"/>
                  <a:gd name="connsiteY1" fmla="*/ 10265 h 2069621"/>
                  <a:gd name="connsiteX2" fmla="*/ 975360 w 975360"/>
                  <a:gd name="connsiteY2" fmla="*/ 1885811 h 2069621"/>
                  <a:gd name="connsiteX3" fmla="*/ 487880 w 975360"/>
                  <a:gd name="connsiteY3" fmla="*/ 2069621 h 2069621"/>
                  <a:gd name="connsiteX4" fmla="*/ 400 w 975360"/>
                  <a:gd name="connsiteY4" fmla="*/ 1885811 h 2069621"/>
                  <a:gd name="connsiteX5" fmla="*/ 447 w 975360"/>
                  <a:gd name="connsiteY5" fmla="*/ 1885602 h 2069621"/>
                  <a:gd name="connsiteX6" fmla="*/ 0 w 975360"/>
                  <a:gd name="connsiteY6" fmla="*/ 1885602 h 2069621"/>
                  <a:gd name="connsiteX7" fmla="*/ 410486 w 975360"/>
                  <a:gd name="connsiteY7" fmla="*/ 8836 h 2069621"/>
                  <a:gd name="connsiteX8" fmla="*/ 509840 w 975360"/>
                  <a:gd name="connsiteY8" fmla="*/ 792 h 20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360" h="2069621">
                    <a:moveTo>
                      <a:pt x="509840" y="792"/>
                    </a:moveTo>
                    <a:cubicBezTo>
                      <a:pt x="527756" y="1978"/>
                      <a:pt x="545585" y="4458"/>
                      <a:pt x="563039" y="10265"/>
                    </a:cubicBezTo>
                    <a:lnTo>
                      <a:pt x="975360" y="1885811"/>
                    </a:lnTo>
                    <a:cubicBezTo>
                      <a:pt x="975360" y="2008368"/>
                      <a:pt x="757108" y="2069621"/>
                      <a:pt x="487880" y="2069621"/>
                    </a:cubicBezTo>
                    <a:cubicBezTo>
                      <a:pt x="218652" y="2069621"/>
                      <a:pt x="400" y="2008368"/>
                      <a:pt x="400" y="1885811"/>
                    </a:cubicBezTo>
                    <a:cubicBezTo>
                      <a:pt x="416" y="1885741"/>
                      <a:pt x="431" y="1885671"/>
                      <a:pt x="447" y="1885602"/>
                    </a:cubicBezTo>
                    <a:lnTo>
                      <a:pt x="0" y="1885602"/>
                    </a:lnTo>
                    <a:lnTo>
                      <a:pt x="410486" y="8836"/>
                    </a:lnTo>
                    <a:cubicBezTo>
                      <a:pt x="444336" y="757"/>
                      <a:pt x="477232" y="-1367"/>
                      <a:pt x="509840" y="792"/>
                    </a:cubicBezTo>
                    <a:close/>
                  </a:path>
                </a:pathLst>
              </a:custGeom>
              <a:gradFill>
                <a:gsLst>
                  <a:gs pos="0">
                    <a:srgbClr val="F82306"/>
                  </a:gs>
                  <a:gs pos="100000">
                    <a:srgbClr val="A01704"/>
                  </a:gs>
                  <a:gs pos="40000">
                    <a:srgbClr val="F83B22"/>
                  </a:gs>
                </a:gsLst>
                <a:lin ang="240000" scaled="0"/>
              </a:gradFill>
              <a:ln w="25400" cap="flat" cmpd="sng" algn="ctr">
                <a:noFill/>
                <a:prstDash val="solid"/>
              </a:ln>
              <a:effectLst>
                <a:innerShdw blurRad="317500" dist="50800" dir="3000000">
                  <a:prstClr val="black">
                    <a:alpha val="3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07" name="Isosceles Triangle 35"/>
              <p:cNvSpPr/>
              <p:nvPr/>
            </p:nvSpPr>
            <p:spPr>
              <a:xfrm>
                <a:off x="2753496" y="4525954"/>
                <a:ext cx="860697" cy="384360"/>
              </a:xfrm>
              <a:custGeom>
                <a:avLst/>
                <a:gdLst/>
                <a:ahLst/>
                <a:cxnLst/>
                <a:rect l="l" t="t" r="r" b="b"/>
                <a:pathLst>
                  <a:path w="860697" h="384360">
                    <a:moveTo>
                      <a:pt x="70995" y="0"/>
                    </a:moveTo>
                    <a:cubicBezTo>
                      <a:pt x="181101" y="30977"/>
                      <a:pt x="302713" y="47879"/>
                      <a:pt x="430508" y="47879"/>
                    </a:cubicBezTo>
                    <a:cubicBezTo>
                      <a:pt x="558047" y="47879"/>
                      <a:pt x="679426" y="31045"/>
                      <a:pt x="789368" y="226"/>
                    </a:cubicBezTo>
                    <a:lnTo>
                      <a:pt x="860697" y="324684"/>
                    </a:lnTo>
                    <a:cubicBezTo>
                      <a:pt x="727135" y="363624"/>
                      <a:pt x="582050" y="384360"/>
                      <a:pt x="430508" y="384360"/>
                    </a:cubicBezTo>
                    <a:cubicBezTo>
                      <a:pt x="278845" y="384360"/>
                      <a:pt x="133651" y="363591"/>
                      <a:pt x="0" y="324596"/>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08" name="Isosceles Triangle 35"/>
              <p:cNvSpPr/>
              <p:nvPr/>
            </p:nvSpPr>
            <p:spPr>
              <a:xfrm>
                <a:off x="2882253" y="3951642"/>
                <a:ext cx="603182" cy="353398"/>
              </a:xfrm>
              <a:custGeom>
                <a:avLst/>
                <a:gdLst/>
                <a:ahLst/>
                <a:cxnLst/>
                <a:rect l="l" t="t" r="r" b="b"/>
                <a:pathLst>
                  <a:path w="603182" h="353398">
                    <a:moveTo>
                      <a:pt x="68157" y="0"/>
                    </a:moveTo>
                    <a:cubicBezTo>
                      <a:pt x="141180" y="21147"/>
                      <a:pt x="220051" y="31240"/>
                      <a:pt x="302056" y="31240"/>
                    </a:cubicBezTo>
                    <a:cubicBezTo>
                      <a:pt x="383587" y="31240"/>
                      <a:pt x="462020" y="21263"/>
                      <a:pt x="534675" y="299"/>
                    </a:cubicBezTo>
                    <a:lnTo>
                      <a:pt x="603182" y="311919"/>
                    </a:lnTo>
                    <a:cubicBezTo>
                      <a:pt x="508278" y="338955"/>
                      <a:pt x="407075" y="353398"/>
                      <a:pt x="302056" y="353398"/>
                    </a:cubicBezTo>
                    <a:cubicBezTo>
                      <a:pt x="196690" y="353398"/>
                      <a:pt x="95166" y="338859"/>
                      <a:pt x="0" y="311618"/>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09" name="Isosceles Triangle 35"/>
              <p:cNvSpPr/>
              <p:nvPr/>
            </p:nvSpPr>
            <p:spPr>
              <a:xfrm>
                <a:off x="3006985" y="3432205"/>
                <a:ext cx="353718" cy="280374"/>
              </a:xfrm>
              <a:custGeom>
                <a:avLst/>
                <a:gdLst/>
                <a:ahLst/>
                <a:cxnLst/>
                <a:rect l="l" t="t" r="r" b="b"/>
                <a:pathLst>
                  <a:path w="353718" h="280374">
                    <a:moveTo>
                      <a:pt x="56505" y="0"/>
                    </a:moveTo>
                    <a:cubicBezTo>
                      <a:pt x="95458" y="7520"/>
                      <a:pt x="136018" y="11189"/>
                      <a:pt x="177626" y="11189"/>
                    </a:cubicBezTo>
                    <a:cubicBezTo>
                      <a:pt x="218579" y="11189"/>
                      <a:pt x="258515" y="7635"/>
                      <a:pt x="296925" y="462"/>
                    </a:cubicBezTo>
                    <a:lnTo>
                      <a:pt x="353718" y="258800"/>
                    </a:lnTo>
                    <a:cubicBezTo>
                      <a:pt x="297487" y="273547"/>
                      <a:pt x="238387" y="280374"/>
                      <a:pt x="177626" y="280374"/>
                    </a:cubicBezTo>
                    <a:cubicBezTo>
                      <a:pt x="116307" y="280374"/>
                      <a:pt x="56679" y="273421"/>
                      <a:pt x="0" y="258343"/>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10" name="Isosceles Triangle 35"/>
              <p:cNvSpPr/>
              <p:nvPr/>
            </p:nvSpPr>
            <p:spPr>
              <a:xfrm>
                <a:off x="2792584" y="3232362"/>
                <a:ext cx="378767" cy="2058550"/>
              </a:xfrm>
              <a:custGeom>
                <a:avLst/>
                <a:gdLst/>
                <a:ahLst/>
                <a:cxnLst/>
                <a:rect l="l" t="t" r="r" b="b"/>
                <a:pathLst>
                  <a:path w="378767" h="2058550">
                    <a:moveTo>
                      <a:pt x="378767" y="0"/>
                    </a:moveTo>
                    <a:lnTo>
                      <a:pt x="221834" y="2058550"/>
                    </a:lnTo>
                    <a:cubicBezTo>
                      <a:pt x="131841" y="2048309"/>
                      <a:pt x="54775" y="2028807"/>
                      <a:pt x="0" y="1999947"/>
                    </a:cubicBezTo>
                    <a:lnTo>
                      <a:pt x="259148" y="285117"/>
                    </a:lnTo>
                    <a:lnTo>
                      <a:pt x="319782" y="7894"/>
                    </a:lnTo>
                    <a:cubicBezTo>
                      <a:pt x="339721" y="3135"/>
                      <a:pt x="359328" y="443"/>
                      <a:pt x="378767" y="0"/>
                    </a:cubicBez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11" name="Isosceles Triangle 35"/>
              <p:cNvSpPr/>
              <p:nvPr/>
            </p:nvSpPr>
            <p:spPr>
              <a:xfrm>
                <a:off x="3081496" y="3232259"/>
                <a:ext cx="153711" cy="2068782"/>
              </a:xfrm>
              <a:custGeom>
                <a:avLst/>
                <a:gdLst/>
                <a:ahLst/>
                <a:cxnLst/>
                <a:rect l="l" t="t" r="r" b="b"/>
                <a:pathLst>
                  <a:path w="153711" h="2068782">
                    <a:moveTo>
                      <a:pt x="117624" y="0"/>
                    </a:moveTo>
                    <a:lnTo>
                      <a:pt x="153711" y="2067454"/>
                    </a:lnTo>
                    <a:cubicBezTo>
                      <a:pt x="138761" y="2068584"/>
                      <a:pt x="123595" y="2068782"/>
                      <a:pt x="108264" y="2068782"/>
                    </a:cubicBezTo>
                    <a:cubicBezTo>
                      <a:pt x="71048" y="2068782"/>
                      <a:pt x="34806" y="2067612"/>
                      <a:pt x="0" y="2064968"/>
                    </a:cubicBezTo>
                    <a:lnTo>
                      <a:pt x="100882" y="62"/>
                    </a:ln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grpSp>
        <p:sp>
          <p:nvSpPr>
            <p:cNvPr id="112" name="TextBox 111"/>
            <p:cNvSpPr txBox="1"/>
            <p:nvPr/>
          </p:nvSpPr>
          <p:spPr>
            <a:xfrm>
              <a:off x="593352" y="4340601"/>
              <a:ext cx="545333" cy="215444"/>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May-17</a:t>
              </a:r>
              <a:endParaRPr kumimoji="0" lang="en-US" sz="800" b="0" i="0" u="none" strike="noStrike" kern="0" cap="none" spc="0" normalizeH="0" baseline="0" noProof="0" dirty="0">
                <a:ln>
                  <a:noFill/>
                </a:ln>
                <a:solidFill>
                  <a:sysClr val="windowText" lastClr="000000"/>
                </a:solidFill>
                <a:effectLst/>
                <a:uLnTx/>
                <a:uFillTx/>
                <a:latin typeface="Calibri" pitchFamily="34" charset="0"/>
              </a:endParaRPr>
            </a:p>
          </p:txBody>
        </p:sp>
      </p:grpSp>
      <p:grpSp>
        <p:nvGrpSpPr>
          <p:cNvPr id="114" name="Group 113"/>
          <p:cNvGrpSpPr/>
          <p:nvPr/>
        </p:nvGrpSpPr>
        <p:grpSpPr>
          <a:xfrm>
            <a:off x="1638806" y="2685027"/>
            <a:ext cx="545333" cy="674159"/>
            <a:chOff x="593352" y="3881886"/>
            <a:chExt cx="545333" cy="674159"/>
          </a:xfrm>
        </p:grpSpPr>
        <p:grpSp>
          <p:nvGrpSpPr>
            <p:cNvPr id="115" name="Group 103"/>
            <p:cNvGrpSpPr>
              <a:grpSpLocks noChangeAspect="1"/>
            </p:cNvGrpSpPr>
            <p:nvPr/>
          </p:nvGrpSpPr>
          <p:grpSpPr>
            <a:xfrm>
              <a:off x="646980" y="3881886"/>
              <a:ext cx="353684" cy="414067"/>
              <a:chOff x="2526619" y="3231420"/>
              <a:chExt cx="1325880" cy="2447151"/>
            </a:xfrm>
          </p:grpSpPr>
          <p:sp>
            <p:nvSpPr>
              <p:cNvPr id="117" name="Rounded Rectangle 116"/>
              <p:cNvSpPr/>
              <p:nvPr/>
            </p:nvSpPr>
            <p:spPr>
              <a:xfrm>
                <a:off x="2526619" y="4539657"/>
                <a:ext cx="1325880" cy="1138914"/>
              </a:xfrm>
              <a:prstGeom prst="roundRect">
                <a:avLst>
                  <a:gd name="adj" fmla="val 5138"/>
                </a:avLst>
              </a:prstGeom>
              <a:solidFill>
                <a:srgbClr val="C11D07"/>
              </a:solidFill>
              <a:ln w="25400" cap="flat" cmpd="sng" algn="ctr">
                <a:noFill/>
                <a:prstDash val="solid"/>
              </a:ln>
              <a:effectLst>
                <a:outerShdw blurRad="317500" dist="38100" dir="5400000" algn="t" rotWithShape="0">
                  <a:prstClr val="black">
                    <a:alpha val="65000"/>
                  </a:prstClr>
                </a:outerShdw>
              </a:effectLst>
              <a:scene3d>
                <a:camera prst="perspectiveRelaxed" fov="7200000">
                  <a:rot lat="17673596" lon="0" rev="0"/>
                </a:camera>
                <a:lightRig rig="threePt" dir="t">
                  <a:rot lat="0" lon="0" rev="10200000"/>
                </a:lightRig>
              </a:scene3d>
              <a:sp3d extrusionH="38100" prstMaterial="plastic">
                <a:bevelT w="50800" h="508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18" name="Isosceles Triangle 35"/>
              <p:cNvSpPr/>
              <p:nvPr/>
            </p:nvSpPr>
            <p:spPr>
              <a:xfrm>
                <a:off x="2701879" y="3231420"/>
                <a:ext cx="975360" cy="2069621"/>
              </a:xfrm>
              <a:custGeom>
                <a:avLst/>
                <a:gdLst>
                  <a:gd name="connsiteX0" fmla="*/ 509840 w 975360"/>
                  <a:gd name="connsiteY0" fmla="*/ 792 h 2069621"/>
                  <a:gd name="connsiteX1" fmla="*/ 563039 w 975360"/>
                  <a:gd name="connsiteY1" fmla="*/ 10265 h 2069621"/>
                  <a:gd name="connsiteX2" fmla="*/ 975360 w 975360"/>
                  <a:gd name="connsiteY2" fmla="*/ 1885811 h 2069621"/>
                  <a:gd name="connsiteX3" fmla="*/ 487880 w 975360"/>
                  <a:gd name="connsiteY3" fmla="*/ 2069621 h 2069621"/>
                  <a:gd name="connsiteX4" fmla="*/ 400 w 975360"/>
                  <a:gd name="connsiteY4" fmla="*/ 1885811 h 2069621"/>
                  <a:gd name="connsiteX5" fmla="*/ 447 w 975360"/>
                  <a:gd name="connsiteY5" fmla="*/ 1885602 h 2069621"/>
                  <a:gd name="connsiteX6" fmla="*/ 0 w 975360"/>
                  <a:gd name="connsiteY6" fmla="*/ 1885602 h 2069621"/>
                  <a:gd name="connsiteX7" fmla="*/ 410486 w 975360"/>
                  <a:gd name="connsiteY7" fmla="*/ 8836 h 2069621"/>
                  <a:gd name="connsiteX8" fmla="*/ 509840 w 975360"/>
                  <a:gd name="connsiteY8" fmla="*/ 792 h 20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360" h="2069621">
                    <a:moveTo>
                      <a:pt x="509840" y="792"/>
                    </a:moveTo>
                    <a:cubicBezTo>
                      <a:pt x="527756" y="1978"/>
                      <a:pt x="545585" y="4458"/>
                      <a:pt x="563039" y="10265"/>
                    </a:cubicBezTo>
                    <a:lnTo>
                      <a:pt x="975360" y="1885811"/>
                    </a:lnTo>
                    <a:cubicBezTo>
                      <a:pt x="975360" y="2008368"/>
                      <a:pt x="757108" y="2069621"/>
                      <a:pt x="487880" y="2069621"/>
                    </a:cubicBezTo>
                    <a:cubicBezTo>
                      <a:pt x="218652" y="2069621"/>
                      <a:pt x="400" y="2008368"/>
                      <a:pt x="400" y="1885811"/>
                    </a:cubicBezTo>
                    <a:cubicBezTo>
                      <a:pt x="416" y="1885741"/>
                      <a:pt x="431" y="1885671"/>
                      <a:pt x="447" y="1885602"/>
                    </a:cubicBezTo>
                    <a:lnTo>
                      <a:pt x="0" y="1885602"/>
                    </a:lnTo>
                    <a:lnTo>
                      <a:pt x="410486" y="8836"/>
                    </a:lnTo>
                    <a:cubicBezTo>
                      <a:pt x="444336" y="757"/>
                      <a:pt x="477232" y="-1367"/>
                      <a:pt x="509840" y="792"/>
                    </a:cubicBezTo>
                    <a:close/>
                  </a:path>
                </a:pathLst>
              </a:custGeom>
              <a:gradFill>
                <a:gsLst>
                  <a:gs pos="0">
                    <a:srgbClr val="F82306"/>
                  </a:gs>
                  <a:gs pos="100000">
                    <a:srgbClr val="A01704"/>
                  </a:gs>
                  <a:gs pos="40000">
                    <a:srgbClr val="F83B22"/>
                  </a:gs>
                </a:gsLst>
                <a:lin ang="240000" scaled="0"/>
              </a:gradFill>
              <a:ln w="25400" cap="flat" cmpd="sng" algn="ctr">
                <a:noFill/>
                <a:prstDash val="solid"/>
              </a:ln>
              <a:effectLst>
                <a:innerShdw blurRad="317500" dist="50800" dir="3000000">
                  <a:prstClr val="black">
                    <a:alpha val="3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19" name="Isosceles Triangle 35"/>
              <p:cNvSpPr/>
              <p:nvPr/>
            </p:nvSpPr>
            <p:spPr>
              <a:xfrm>
                <a:off x="2753496" y="4525954"/>
                <a:ext cx="860697" cy="384360"/>
              </a:xfrm>
              <a:custGeom>
                <a:avLst/>
                <a:gdLst/>
                <a:ahLst/>
                <a:cxnLst/>
                <a:rect l="l" t="t" r="r" b="b"/>
                <a:pathLst>
                  <a:path w="860697" h="384360">
                    <a:moveTo>
                      <a:pt x="70995" y="0"/>
                    </a:moveTo>
                    <a:cubicBezTo>
                      <a:pt x="181101" y="30977"/>
                      <a:pt x="302713" y="47879"/>
                      <a:pt x="430508" y="47879"/>
                    </a:cubicBezTo>
                    <a:cubicBezTo>
                      <a:pt x="558047" y="47879"/>
                      <a:pt x="679426" y="31045"/>
                      <a:pt x="789368" y="226"/>
                    </a:cubicBezTo>
                    <a:lnTo>
                      <a:pt x="860697" y="324684"/>
                    </a:lnTo>
                    <a:cubicBezTo>
                      <a:pt x="727135" y="363624"/>
                      <a:pt x="582050" y="384360"/>
                      <a:pt x="430508" y="384360"/>
                    </a:cubicBezTo>
                    <a:cubicBezTo>
                      <a:pt x="278845" y="384360"/>
                      <a:pt x="133651" y="363591"/>
                      <a:pt x="0" y="324596"/>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20" name="Isosceles Triangle 35"/>
              <p:cNvSpPr/>
              <p:nvPr/>
            </p:nvSpPr>
            <p:spPr>
              <a:xfrm>
                <a:off x="2882253" y="3951642"/>
                <a:ext cx="603182" cy="353398"/>
              </a:xfrm>
              <a:custGeom>
                <a:avLst/>
                <a:gdLst/>
                <a:ahLst/>
                <a:cxnLst/>
                <a:rect l="l" t="t" r="r" b="b"/>
                <a:pathLst>
                  <a:path w="603182" h="353398">
                    <a:moveTo>
                      <a:pt x="68157" y="0"/>
                    </a:moveTo>
                    <a:cubicBezTo>
                      <a:pt x="141180" y="21147"/>
                      <a:pt x="220051" y="31240"/>
                      <a:pt x="302056" y="31240"/>
                    </a:cubicBezTo>
                    <a:cubicBezTo>
                      <a:pt x="383587" y="31240"/>
                      <a:pt x="462020" y="21263"/>
                      <a:pt x="534675" y="299"/>
                    </a:cubicBezTo>
                    <a:lnTo>
                      <a:pt x="603182" y="311919"/>
                    </a:lnTo>
                    <a:cubicBezTo>
                      <a:pt x="508278" y="338955"/>
                      <a:pt x="407075" y="353398"/>
                      <a:pt x="302056" y="353398"/>
                    </a:cubicBezTo>
                    <a:cubicBezTo>
                      <a:pt x="196690" y="353398"/>
                      <a:pt x="95166" y="338859"/>
                      <a:pt x="0" y="311618"/>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21" name="Isosceles Triangle 35"/>
              <p:cNvSpPr/>
              <p:nvPr/>
            </p:nvSpPr>
            <p:spPr>
              <a:xfrm>
                <a:off x="3006985" y="3432205"/>
                <a:ext cx="353718" cy="280374"/>
              </a:xfrm>
              <a:custGeom>
                <a:avLst/>
                <a:gdLst/>
                <a:ahLst/>
                <a:cxnLst/>
                <a:rect l="l" t="t" r="r" b="b"/>
                <a:pathLst>
                  <a:path w="353718" h="280374">
                    <a:moveTo>
                      <a:pt x="56505" y="0"/>
                    </a:moveTo>
                    <a:cubicBezTo>
                      <a:pt x="95458" y="7520"/>
                      <a:pt x="136018" y="11189"/>
                      <a:pt x="177626" y="11189"/>
                    </a:cubicBezTo>
                    <a:cubicBezTo>
                      <a:pt x="218579" y="11189"/>
                      <a:pt x="258515" y="7635"/>
                      <a:pt x="296925" y="462"/>
                    </a:cubicBezTo>
                    <a:lnTo>
                      <a:pt x="353718" y="258800"/>
                    </a:lnTo>
                    <a:cubicBezTo>
                      <a:pt x="297487" y="273547"/>
                      <a:pt x="238387" y="280374"/>
                      <a:pt x="177626" y="280374"/>
                    </a:cubicBezTo>
                    <a:cubicBezTo>
                      <a:pt x="116307" y="280374"/>
                      <a:pt x="56679" y="273421"/>
                      <a:pt x="0" y="258343"/>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22" name="Isosceles Triangle 35"/>
              <p:cNvSpPr/>
              <p:nvPr/>
            </p:nvSpPr>
            <p:spPr>
              <a:xfrm>
                <a:off x="2792584" y="3232362"/>
                <a:ext cx="378767" cy="2058550"/>
              </a:xfrm>
              <a:custGeom>
                <a:avLst/>
                <a:gdLst/>
                <a:ahLst/>
                <a:cxnLst/>
                <a:rect l="l" t="t" r="r" b="b"/>
                <a:pathLst>
                  <a:path w="378767" h="2058550">
                    <a:moveTo>
                      <a:pt x="378767" y="0"/>
                    </a:moveTo>
                    <a:lnTo>
                      <a:pt x="221834" y="2058550"/>
                    </a:lnTo>
                    <a:cubicBezTo>
                      <a:pt x="131841" y="2048309"/>
                      <a:pt x="54775" y="2028807"/>
                      <a:pt x="0" y="1999947"/>
                    </a:cubicBezTo>
                    <a:lnTo>
                      <a:pt x="259148" y="285117"/>
                    </a:lnTo>
                    <a:lnTo>
                      <a:pt x="319782" y="7894"/>
                    </a:lnTo>
                    <a:cubicBezTo>
                      <a:pt x="339721" y="3135"/>
                      <a:pt x="359328" y="443"/>
                      <a:pt x="378767" y="0"/>
                    </a:cubicBez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23" name="Isosceles Triangle 35"/>
              <p:cNvSpPr/>
              <p:nvPr/>
            </p:nvSpPr>
            <p:spPr>
              <a:xfrm>
                <a:off x="3081496" y="3232259"/>
                <a:ext cx="153711" cy="2068782"/>
              </a:xfrm>
              <a:custGeom>
                <a:avLst/>
                <a:gdLst/>
                <a:ahLst/>
                <a:cxnLst/>
                <a:rect l="l" t="t" r="r" b="b"/>
                <a:pathLst>
                  <a:path w="153711" h="2068782">
                    <a:moveTo>
                      <a:pt x="117624" y="0"/>
                    </a:moveTo>
                    <a:lnTo>
                      <a:pt x="153711" y="2067454"/>
                    </a:lnTo>
                    <a:cubicBezTo>
                      <a:pt x="138761" y="2068584"/>
                      <a:pt x="123595" y="2068782"/>
                      <a:pt x="108264" y="2068782"/>
                    </a:cubicBezTo>
                    <a:cubicBezTo>
                      <a:pt x="71048" y="2068782"/>
                      <a:pt x="34806" y="2067612"/>
                      <a:pt x="0" y="2064968"/>
                    </a:cubicBezTo>
                    <a:lnTo>
                      <a:pt x="100882" y="62"/>
                    </a:ln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grpSp>
        <p:sp>
          <p:nvSpPr>
            <p:cNvPr id="116" name="TextBox 115"/>
            <p:cNvSpPr txBox="1"/>
            <p:nvPr/>
          </p:nvSpPr>
          <p:spPr>
            <a:xfrm>
              <a:off x="593352" y="4340601"/>
              <a:ext cx="545333" cy="215444"/>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May-17</a:t>
              </a:r>
              <a:endParaRPr kumimoji="0" lang="en-US" sz="800" b="0" i="0" u="none" strike="noStrike" kern="0" cap="none" spc="0" normalizeH="0" baseline="0" noProof="0" dirty="0">
                <a:ln>
                  <a:noFill/>
                </a:ln>
                <a:solidFill>
                  <a:sysClr val="windowText" lastClr="000000"/>
                </a:solidFill>
                <a:effectLst/>
                <a:uLnTx/>
                <a:uFillTx/>
                <a:latin typeface="Calibri" pitchFamily="34" charset="0"/>
              </a:endParaRPr>
            </a:p>
          </p:txBody>
        </p:sp>
      </p:grpSp>
      <p:grpSp>
        <p:nvGrpSpPr>
          <p:cNvPr id="124" name="Group 123"/>
          <p:cNvGrpSpPr/>
          <p:nvPr/>
        </p:nvGrpSpPr>
        <p:grpSpPr>
          <a:xfrm>
            <a:off x="2577538" y="3701903"/>
            <a:ext cx="545333" cy="797269"/>
            <a:chOff x="593352" y="3881886"/>
            <a:chExt cx="545333" cy="797269"/>
          </a:xfrm>
        </p:grpSpPr>
        <p:grpSp>
          <p:nvGrpSpPr>
            <p:cNvPr id="125" name="Group 103"/>
            <p:cNvGrpSpPr>
              <a:grpSpLocks noChangeAspect="1"/>
            </p:cNvGrpSpPr>
            <p:nvPr/>
          </p:nvGrpSpPr>
          <p:grpSpPr>
            <a:xfrm>
              <a:off x="646980" y="3881886"/>
              <a:ext cx="353684" cy="414067"/>
              <a:chOff x="2526619" y="3231420"/>
              <a:chExt cx="1325880" cy="2447151"/>
            </a:xfrm>
          </p:grpSpPr>
          <p:sp>
            <p:nvSpPr>
              <p:cNvPr id="127" name="Rounded Rectangle 126"/>
              <p:cNvSpPr/>
              <p:nvPr/>
            </p:nvSpPr>
            <p:spPr>
              <a:xfrm>
                <a:off x="2526619" y="4539657"/>
                <a:ext cx="1325880" cy="1138914"/>
              </a:xfrm>
              <a:prstGeom prst="roundRect">
                <a:avLst>
                  <a:gd name="adj" fmla="val 5138"/>
                </a:avLst>
              </a:prstGeom>
              <a:solidFill>
                <a:srgbClr val="C11D07"/>
              </a:solidFill>
              <a:ln w="25400" cap="flat" cmpd="sng" algn="ctr">
                <a:noFill/>
                <a:prstDash val="solid"/>
              </a:ln>
              <a:effectLst>
                <a:outerShdw blurRad="317500" dist="38100" dir="5400000" algn="t" rotWithShape="0">
                  <a:prstClr val="black">
                    <a:alpha val="65000"/>
                  </a:prstClr>
                </a:outerShdw>
              </a:effectLst>
              <a:scene3d>
                <a:camera prst="perspectiveRelaxed" fov="7200000">
                  <a:rot lat="17673596" lon="0" rev="0"/>
                </a:camera>
                <a:lightRig rig="threePt" dir="t">
                  <a:rot lat="0" lon="0" rev="10200000"/>
                </a:lightRig>
              </a:scene3d>
              <a:sp3d extrusionH="38100" prstMaterial="plastic">
                <a:bevelT w="50800" h="508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28" name="Isosceles Triangle 35"/>
              <p:cNvSpPr/>
              <p:nvPr/>
            </p:nvSpPr>
            <p:spPr>
              <a:xfrm>
                <a:off x="2701879" y="3231420"/>
                <a:ext cx="975360" cy="2069621"/>
              </a:xfrm>
              <a:custGeom>
                <a:avLst/>
                <a:gdLst>
                  <a:gd name="connsiteX0" fmla="*/ 509840 w 975360"/>
                  <a:gd name="connsiteY0" fmla="*/ 792 h 2069621"/>
                  <a:gd name="connsiteX1" fmla="*/ 563039 w 975360"/>
                  <a:gd name="connsiteY1" fmla="*/ 10265 h 2069621"/>
                  <a:gd name="connsiteX2" fmla="*/ 975360 w 975360"/>
                  <a:gd name="connsiteY2" fmla="*/ 1885811 h 2069621"/>
                  <a:gd name="connsiteX3" fmla="*/ 487880 w 975360"/>
                  <a:gd name="connsiteY3" fmla="*/ 2069621 h 2069621"/>
                  <a:gd name="connsiteX4" fmla="*/ 400 w 975360"/>
                  <a:gd name="connsiteY4" fmla="*/ 1885811 h 2069621"/>
                  <a:gd name="connsiteX5" fmla="*/ 447 w 975360"/>
                  <a:gd name="connsiteY5" fmla="*/ 1885602 h 2069621"/>
                  <a:gd name="connsiteX6" fmla="*/ 0 w 975360"/>
                  <a:gd name="connsiteY6" fmla="*/ 1885602 h 2069621"/>
                  <a:gd name="connsiteX7" fmla="*/ 410486 w 975360"/>
                  <a:gd name="connsiteY7" fmla="*/ 8836 h 2069621"/>
                  <a:gd name="connsiteX8" fmla="*/ 509840 w 975360"/>
                  <a:gd name="connsiteY8" fmla="*/ 792 h 20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360" h="2069621">
                    <a:moveTo>
                      <a:pt x="509840" y="792"/>
                    </a:moveTo>
                    <a:cubicBezTo>
                      <a:pt x="527756" y="1978"/>
                      <a:pt x="545585" y="4458"/>
                      <a:pt x="563039" y="10265"/>
                    </a:cubicBezTo>
                    <a:lnTo>
                      <a:pt x="975360" y="1885811"/>
                    </a:lnTo>
                    <a:cubicBezTo>
                      <a:pt x="975360" y="2008368"/>
                      <a:pt x="757108" y="2069621"/>
                      <a:pt x="487880" y="2069621"/>
                    </a:cubicBezTo>
                    <a:cubicBezTo>
                      <a:pt x="218652" y="2069621"/>
                      <a:pt x="400" y="2008368"/>
                      <a:pt x="400" y="1885811"/>
                    </a:cubicBezTo>
                    <a:cubicBezTo>
                      <a:pt x="416" y="1885741"/>
                      <a:pt x="431" y="1885671"/>
                      <a:pt x="447" y="1885602"/>
                    </a:cubicBezTo>
                    <a:lnTo>
                      <a:pt x="0" y="1885602"/>
                    </a:lnTo>
                    <a:lnTo>
                      <a:pt x="410486" y="8836"/>
                    </a:lnTo>
                    <a:cubicBezTo>
                      <a:pt x="444336" y="757"/>
                      <a:pt x="477232" y="-1367"/>
                      <a:pt x="509840" y="792"/>
                    </a:cubicBezTo>
                    <a:close/>
                  </a:path>
                </a:pathLst>
              </a:custGeom>
              <a:gradFill>
                <a:gsLst>
                  <a:gs pos="0">
                    <a:srgbClr val="F82306"/>
                  </a:gs>
                  <a:gs pos="100000">
                    <a:srgbClr val="A01704"/>
                  </a:gs>
                  <a:gs pos="40000">
                    <a:srgbClr val="F83B22"/>
                  </a:gs>
                </a:gsLst>
                <a:lin ang="240000" scaled="0"/>
              </a:gradFill>
              <a:ln w="25400" cap="flat" cmpd="sng" algn="ctr">
                <a:noFill/>
                <a:prstDash val="solid"/>
              </a:ln>
              <a:effectLst>
                <a:innerShdw blurRad="317500" dist="50800" dir="3000000">
                  <a:prstClr val="black">
                    <a:alpha val="3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29" name="Isosceles Triangle 35"/>
              <p:cNvSpPr/>
              <p:nvPr/>
            </p:nvSpPr>
            <p:spPr>
              <a:xfrm>
                <a:off x="2753496" y="4525954"/>
                <a:ext cx="860697" cy="384360"/>
              </a:xfrm>
              <a:custGeom>
                <a:avLst/>
                <a:gdLst/>
                <a:ahLst/>
                <a:cxnLst/>
                <a:rect l="l" t="t" r="r" b="b"/>
                <a:pathLst>
                  <a:path w="860697" h="384360">
                    <a:moveTo>
                      <a:pt x="70995" y="0"/>
                    </a:moveTo>
                    <a:cubicBezTo>
                      <a:pt x="181101" y="30977"/>
                      <a:pt x="302713" y="47879"/>
                      <a:pt x="430508" y="47879"/>
                    </a:cubicBezTo>
                    <a:cubicBezTo>
                      <a:pt x="558047" y="47879"/>
                      <a:pt x="679426" y="31045"/>
                      <a:pt x="789368" y="226"/>
                    </a:cubicBezTo>
                    <a:lnTo>
                      <a:pt x="860697" y="324684"/>
                    </a:lnTo>
                    <a:cubicBezTo>
                      <a:pt x="727135" y="363624"/>
                      <a:pt x="582050" y="384360"/>
                      <a:pt x="430508" y="384360"/>
                    </a:cubicBezTo>
                    <a:cubicBezTo>
                      <a:pt x="278845" y="384360"/>
                      <a:pt x="133651" y="363591"/>
                      <a:pt x="0" y="324596"/>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30" name="Isosceles Triangle 35"/>
              <p:cNvSpPr/>
              <p:nvPr/>
            </p:nvSpPr>
            <p:spPr>
              <a:xfrm>
                <a:off x="2882253" y="3951642"/>
                <a:ext cx="603182" cy="353398"/>
              </a:xfrm>
              <a:custGeom>
                <a:avLst/>
                <a:gdLst/>
                <a:ahLst/>
                <a:cxnLst/>
                <a:rect l="l" t="t" r="r" b="b"/>
                <a:pathLst>
                  <a:path w="603182" h="353398">
                    <a:moveTo>
                      <a:pt x="68157" y="0"/>
                    </a:moveTo>
                    <a:cubicBezTo>
                      <a:pt x="141180" y="21147"/>
                      <a:pt x="220051" y="31240"/>
                      <a:pt x="302056" y="31240"/>
                    </a:cubicBezTo>
                    <a:cubicBezTo>
                      <a:pt x="383587" y="31240"/>
                      <a:pt x="462020" y="21263"/>
                      <a:pt x="534675" y="299"/>
                    </a:cubicBezTo>
                    <a:lnTo>
                      <a:pt x="603182" y="311919"/>
                    </a:lnTo>
                    <a:cubicBezTo>
                      <a:pt x="508278" y="338955"/>
                      <a:pt x="407075" y="353398"/>
                      <a:pt x="302056" y="353398"/>
                    </a:cubicBezTo>
                    <a:cubicBezTo>
                      <a:pt x="196690" y="353398"/>
                      <a:pt x="95166" y="338859"/>
                      <a:pt x="0" y="311618"/>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31" name="Isosceles Triangle 35"/>
              <p:cNvSpPr/>
              <p:nvPr/>
            </p:nvSpPr>
            <p:spPr>
              <a:xfrm>
                <a:off x="3006985" y="3432205"/>
                <a:ext cx="353718" cy="280374"/>
              </a:xfrm>
              <a:custGeom>
                <a:avLst/>
                <a:gdLst/>
                <a:ahLst/>
                <a:cxnLst/>
                <a:rect l="l" t="t" r="r" b="b"/>
                <a:pathLst>
                  <a:path w="353718" h="280374">
                    <a:moveTo>
                      <a:pt x="56505" y="0"/>
                    </a:moveTo>
                    <a:cubicBezTo>
                      <a:pt x="95458" y="7520"/>
                      <a:pt x="136018" y="11189"/>
                      <a:pt x="177626" y="11189"/>
                    </a:cubicBezTo>
                    <a:cubicBezTo>
                      <a:pt x="218579" y="11189"/>
                      <a:pt x="258515" y="7635"/>
                      <a:pt x="296925" y="462"/>
                    </a:cubicBezTo>
                    <a:lnTo>
                      <a:pt x="353718" y="258800"/>
                    </a:lnTo>
                    <a:cubicBezTo>
                      <a:pt x="297487" y="273547"/>
                      <a:pt x="238387" y="280374"/>
                      <a:pt x="177626" y="280374"/>
                    </a:cubicBezTo>
                    <a:cubicBezTo>
                      <a:pt x="116307" y="280374"/>
                      <a:pt x="56679" y="273421"/>
                      <a:pt x="0" y="258343"/>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32" name="Isosceles Triangle 35"/>
              <p:cNvSpPr/>
              <p:nvPr/>
            </p:nvSpPr>
            <p:spPr>
              <a:xfrm>
                <a:off x="2792584" y="3232362"/>
                <a:ext cx="378767" cy="2058550"/>
              </a:xfrm>
              <a:custGeom>
                <a:avLst/>
                <a:gdLst/>
                <a:ahLst/>
                <a:cxnLst/>
                <a:rect l="l" t="t" r="r" b="b"/>
                <a:pathLst>
                  <a:path w="378767" h="2058550">
                    <a:moveTo>
                      <a:pt x="378767" y="0"/>
                    </a:moveTo>
                    <a:lnTo>
                      <a:pt x="221834" y="2058550"/>
                    </a:lnTo>
                    <a:cubicBezTo>
                      <a:pt x="131841" y="2048309"/>
                      <a:pt x="54775" y="2028807"/>
                      <a:pt x="0" y="1999947"/>
                    </a:cubicBezTo>
                    <a:lnTo>
                      <a:pt x="259148" y="285117"/>
                    </a:lnTo>
                    <a:lnTo>
                      <a:pt x="319782" y="7894"/>
                    </a:lnTo>
                    <a:cubicBezTo>
                      <a:pt x="339721" y="3135"/>
                      <a:pt x="359328" y="443"/>
                      <a:pt x="378767" y="0"/>
                    </a:cubicBez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33" name="Isosceles Triangle 35"/>
              <p:cNvSpPr/>
              <p:nvPr/>
            </p:nvSpPr>
            <p:spPr>
              <a:xfrm>
                <a:off x="3081496" y="3232259"/>
                <a:ext cx="153711" cy="2068782"/>
              </a:xfrm>
              <a:custGeom>
                <a:avLst/>
                <a:gdLst/>
                <a:ahLst/>
                <a:cxnLst/>
                <a:rect l="l" t="t" r="r" b="b"/>
                <a:pathLst>
                  <a:path w="153711" h="2068782">
                    <a:moveTo>
                      <a:pt x="117624" y="0"/>
                    </a:moveTo>
                    <a:lnTo>
                      <a:pt x="153711" y="2067454"/>
                    </a:lnTo>
                    <a:cubicBezTo>
                      <a:pt x="138761" y="2068584"/>
                      <a:pt x="123595" y="2068782"/>
                      <a:pt x="108264" y="2068782"/>
                    </a:cubicBezTo>
                    <a:cubicBezTo>
                      <a:pt x="71048" y="2068782"/>
                      <a:pt x="34806" y="2067612"/>
                      <a:pt x="0" y="2064968"/>
                    </a:cubicBezTo>
                    <a:lnTo>
                      <a:pt x="100882" y="62"/>
                    </a:ln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grpSp>
        <p:sp>
          <p:nvSpPr>
            <p:cNvPr id="126" name="TextBox 125"/>
            <p:cNvSpPr txBox="1"/>
            <p:nvPr/>
          </p:nvSpPr>
          <p:spPr>
            <a:xfrm>
              <a:off x="593352" y="4340601"/>
              <a:ext cx="545333" cy="338554"/>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Jun/Jul/Aug-17</a:t>
              </a:r>
              <a:endParaRPr kumimoji="0" lang="en-US" sz="800" b="0" i="0" u="none" strike="noStrike" kern="0" cap="none" spc="0" normalizeH="0" baseline="0" noProof="0" dirty="0">
                <a:ln>
                  <a:noFill/>
                </a:ln>
                <a:solidFill>
                  <a:sysClr val="windowText" lastClr="000000"/>
                </a:solidFill>
                <a:effectLst/>
                <a:uLnTx/>
                <a:uFillTx/>
                <a:latin typeface="Calibri" pitchFamily="34" charset="0"/>
              </a:endParaRPr>
            </a:p>
          </p:txBody>
        </p:sp>
      </p:grpSp>
      <p:grpSp>
        <p:nvGrpSpPr>
          <p:cNvPr id="134" name="Group 133"/>
          <p:cNvGrpSpPr/>
          <p:nvPr/>
        </p:nvGrpSpPr>
        <p:grpSpPr>
          <a:xfrm>
            <a:off x="3546277" y="2692651"/>
            <a:ext cx="545333" cy="674159"/>
            <a:chOff x="593352" y="3881886"/>
            <a:chExt cx="545333" cy="674159"/>
          </a:xfrm>
        </p:grpSpPr>
        <p:grpSp>
          <p:nvGrpSpPr>
            <p:cNvPr id="135" name="Group 103"/>
            <p:cNvGrpSpPr>
              <a:grpSpLocks noChangeAspect="1"/>
            </p:cNvGrpSpPr>
            <p:nvPr/>
          </p:nvGrpSpPr>
          <p:grpSpPr>
            <a:xfrm>
              <a:off x="646980" y="3881886"/>
              <a:ext cx="353684" cy="414067"/>
              <a:chOff x="2526619" y="3231420"/>
              <a:chExt cx="1325880" cy="2447151"/>
            </a:xfrm>
          </p:grpSpPr>
          <p:sp>
            <p:nvSpPr>
              <p:cNvPr id="137" name="Rounded Rectangle 136"/>
              <p:cNvSpPr/>
              <p:nvPr/>
            </p:nvSpPr>
            <p:spPr>
              <a:xfrm>
                <a:off x="2526619" y="4539657"/>
                <a:ext cx="1325880" cy="1138914"/>
              </a:xfrm>
              <a:prstGeom prst="roundRect">
                <a:avLst>
                  <a:gd name="adj" fmla="val 5138"/>
                </a:avLst>
              </a:prstGeom>
              <a:solidFill>
                <a:srgbClr val="C11D07"/>
              </a:solidFill>
              <a:ln w="25400" cap="flat" cmpd="sng" algn="ctr">
                <a:noFill/>
                <a:prstDash val="solid"/>
              </a:ln>
              <a:effectLst>
                <a:outerShdw blurRad="317500" dist="38100" dir="5400000" algn="t" rotWithShape="0">
                  <a:prstClr val="black">
                    <a:alpha val="65000"/>
                  </a:prstClr>
                </a:outerShdw>
              </a:effectLst>
              <a:scene3d>
                <a:camera prst="perspectiveRelaxed" fov="7200000">
                  <a:rot lat="17673596" lon="0" rev="0"/>
                </a:camera>
                <a:lightRig rig="threePt" dir="t">
                  <a:rot lat="0" lon="0" rev="10200000"/>
                </a:lightRig>
              </a:scene3d>
              <a:sp3d extrusionH="38100" prstMaterial="plastic">
                <a:bevelT w="50800" h="508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38" name="Isosceles Triangle 35"/>
              <p:cNvSpPr/>
              <p:nvPr/>
            </p:nvSpPr>
            <p:spPr>
              <a:xfrm>
                <a:off x="2701879" y="3231420"/>
                <a:ext cx="975360" cy="2069621"/>
              </a:xfrm>
              <a:custGeom>
                <a:avLst/>
                <a:gdLst>
                  <a:gd name="connsiteX0" fmla="*/ 509840 w 975360"/>
                  <a:gd name="connsiteY0" fmla="*/ 792 h 2069621"/>
                  <a:gd name="connsiteX1" fmla="*/ 563039 w 975360"/>
                  <a:gd name="connsiteY1" fmla="*/ 10265 h 2069621"/>
                  <a:gd name="connsiteX2" fmla="*/ 975360 w 975360"/>
                  <a:gd name="connsiteY2" fmla="*/ 1885811 h 2069621"/>
                  <a:gd name="connsiteX3" fmla="*/ 487880 w 975360"/>
                  <a:gd name="connsiteY3" fmla="*/ 2069621 h 2069621"/>
                  <a:gd name="connsiteX4" fmla="*/ 400 w 975360"/>
                  <a:gd name="connsiteY4" fmla="*/ 1885811 h 2069621"/>
                  <a:gd name="connsiteX5" fmla="*/ 447 w 975360"/>
                  <a:gd name="connsiteY5" fmla="*/ 1885602 h 2069621"/>
                  <a:gd name="connsiteX6" fmla="*/ 0 w 975360"/>
                  <a:gd name="connsiteY6" fmla="*/ 1885602 h 2069621"/>
                  <a:gd name="connsiteX7" fmla="*/ 410486 w 975360"/>
                  <a:gd name="connsiteY7" fmla="*/ 8836 h 2069621"/>
                  <a:gd name="connsiteX8" fmla="*/ 509840 w 975360"/>
                  <a:gd name="connsiteY8" fmla="*/ 792 h 20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360" h="2069621">
                    <a:moveTo>
                      <a:pt x="509840" y="792"/>
                    </a:moveTo>
                    <a:cubicBezTo>
                      <a:pt x="527756" y="1978"/>
                      <a:pt x="545585" y="4458"/>
                      <a:pt x="563039" y="10265"/>
                    </a:cubicBezTo>
                    <a:lnTo>
                      <a:pt x="975360" y="1885811"/>
                    </a:lnTo>
                    <a:cubicBezTo>
                      <a:pt x="975360" y="2008368"/>
                      <a:pt x="757108" y="2069621"/>
                      <a:pt x="487880" y="2069621"/>
                    </a:cubicBezTo>
                    <a:cubicBezTo>
                      <a:pt x="218652" y="2069621"/>
                      <a:pt x="400" y="2008368"/>
                      <a:pt x="400" y="1885811"/>
                    </a:cubicBezTo>
                    <a:cubicBezTo>
                      <a:pt x="416" y="1885741"/>
                      <a:pt x="431" y="1885671"/>
                      <a:pt x="447" y="1885602"/>
                    </a:cubicBezTo>
                    <a:lnTo>
                      <a:pt x="0" y="1885602"/>
                    </a:lnTo>
                    <a:lnTo>
                      <a:pt x="410486" y="8836"/>
                    </a:lnTo>
                    <a:cubicBezTo>
                      <a:pt x="444336" y="757"/>
                      <a:pt x="477232" y="-1367"/>
                      <a:pt x="509840" y="792"/>
                    </a:cubicBezTo>
                    <a:close/>
                  </a:path>
                </a:pathLst>
              </a:custGeom>
              <a:gradFill>
                <a:gsLst>
                  <a:gs pos="0">
                    <a:srgbClr val="F82306"/>
                  </a:gs>
                  <a:gs pos="100000">
                    <a:srgbClr val="A01704"/>
                  </a:gs>
                  <a:gs pos="40000">
                    <a:srgbClr val="F83B22"/>
                  </a:gs>
                </a:gsLst>
                <a:lin ang="240000" scaled="0"/>
              </a:gradFill>
              <a:ln w="25400" cap="flat" cmpd="sng" algn="ctr">
                <a:noFill/>
                <a:prstDash val="solid"/>
              </a:ln>
              <a:effectLst>
                <a:innerShdw blurRad="317500" dist="50800" dir="3000000">
                  <a:prstClr val="black">
                    <a:alpha val="3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39" name="Isosceles Triangle 35"/>
              <p:cNvSpPr/>
              <p:nvPr/>
            </p:nvSpPr>
            <p:spPr>
              <a:xfrm>
                <a:off x="2753496" y="4525954"/>
                <a:ext cx="860697" cy="384360"/>
              </a:xfrm>
              <a:custGeom>
                <a:avLst/>
                <a:gdLst/>
                <a:ahLst/>
                <a:cxnLst/>
                <a:rect l="l" t="t" r="r" b="b"/>
                <a:pathLst>
                  <a:path w="860697" h="384360">
                    <a:moveTo>
                      <a:pt x="70995" y="0"/>
                    </a:moveTo>
                    <a:cubicBezTo>
                      <a:pt x="181101" y="30977"/>
                      <a:pt x="302713" y="47879"/>
                      <a:pt x="430508" y="47879"/>
                    </a:cubicBezTo>
                    <a:cubicBezTo>
                      <a:pt x="558047" y="47879"/>
                      <a:pt x="679426" y="31045"/>
                      <a:pt x="789368" y="226"/>
                    </a:cubicBezTo>
                    <a:lnTo>
                      <a:pt x="860697" y="324684"/>
                    </a:lnTo>
                    <a:cubicBezTo>
                      <a:pt x="727135" y="363624"/>
                      <a:pt x="582050" y="384360"/>
                      <a:pt x="430508" y="384360"/>
                    </a:cubicBezTo>
                    <a:cubicBezTo>
                      <a:pt x="278845" y="384360"/>
                      <a:pt x="133651" y="363591"/>
                      <a:pt x="0" y="324596"/>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40" name="Isosceles Triangle 35"/>
              <p:cNvSpPr/>
              <p:nvPr/>
            </p:nvSpPr>
            <p:spPr>
              <a:xfrm>
                <a:off x="2882253" y="3951642"/>
                <a:ext cx="603182" cy="353398"/>
              </a:xfrm>
              <a:custGeom>
                <a:avLst/>
                <a:gdLst/>
                <a:ahLst/>
                <a:cxnLst/>
                <a:rect l="l" t="t" r="r" b="b"/>
                <a:pathLst>
                  <a:path w="603182" h="353398">
                    <a:moveTo>
                      <a:pt x="68157" y="0"/>
                    </a:moveTo>
                    <a:cubicBezTo>
                      <a:pt x="141180" y="21147"/>
                      <a:pt x="220051" y="31240"/>
                      <a:pt x="302056" y="31240"/>
                    </a:cubicBezTo>
                    <a:cubicBezTo>
                      <a:pt x="383587" y="31240"/>
                      <a:pt x="462020" y="21263"/>
                      <a:pt x="534675" y="299"/>
                    </a:cubicBezTo>
                    <a:lnTo>
                      <a:pt x="603182" y="311919"/>
                    </a:lnTo>
                    <a:cubicBezTo>
                      <a:pt x="508278" y="338955"/>
                      <a:pt x="407075" y="353398"/>
                      <a:pt x="302056" y="353398"/>
                    </a:cubicBezTo>
                    <a:cubicBezTo>
                      <a:pt x="196690" y="353398"/>
                      <a:pt x="95166" y="338859"/>
                      <a:pt x="0" y="311618"/>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41" name="Isosceles Triangle 35"/>
              <p:cNvSpPr/>
              <p:nvPr/>
            </p:nvSpPr>
            <p:spPr>
              <a:xfrm>
                <a:off x="3006985" y="3432205"/>
                <a:ext cx="353718" cy="280374"/>
              </a:xfrm>
              <a:custGeom>
                <a:avLst/>
                <a:gdLst/>
                <a:ahLst/>
                <a:cxnLst/>
                <a:rect l="l" t="t" r="r" b="b"/>
                <a:pathLst>
                  <a:path w="353718" h="280374">
                    <a:moveTo>
                      <a:pt x="56505" y="0"/>
                    </a:moveTo>
                    <a:cubicBezTo>
                      <a:pt x="95458" y="7520"/>
                      <a:pt x="136018" y="11189"/>
                      <a:pt x="177626" y="11189"/>
                    </a:cubicBezTo>
                    <a:cubicBezTo>
                      <a:pt x="218579" y="11189"/>
                      <a:pt x="258515" y="7635"/>
                      <a:pt x="296925" y="462"/>
                    </a:cubicBezTo>
                    <a:lnTo>
                      <a:pt x="353718" y="258800"/>
                    </a:lnTo>
                    <a:cubicBezTo>
                      <a:pt x="297487" y="273547"/>
                      <a:pt x="238387" y="280374"/>
                      <a:pt x="177626" y="280374"/>
                    </a:cubicBezTo>
                    <a:cubicBezTo>
                      <a:pt x="116307" y="280374"/>
                      <a:pt x="56679" y="273421"/>
                      <a:pt x="0" y="258343"/>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42" name="Isosceles Triangle 35"/>
              <p:cNvSpPr/>
              <p:nvPr/>
            </p:nvSpPr>
            <p:spPr>
              <a:xfrm>
                <a:off x="2792584" y="3232362"/>
                <a:ext cx="378767" cy="2058550"/>
              </a:xfrm>
              <a:custGeom>
                <a:avLst/>
                <a:gdLst/>
                <a:ahLst/>
                <a:cxnLst/>
                <a:rect l="l" t="t" r="r" b="b"/>
                <a:pathLst>
                  <a:path w="378767" h="2058550">
                    <a:moveTo>
                      <a:pt x="378767" y="0"/>
                    </a:moveTo>
                    <a:lnTo>
                      <a:pt x="221834" y="2058550"/>
                    </a:lnTo>
                    <a:cubicBezTo>
                      <a:pt x="131841" y="2048309"/>
                      <a:pt x="54775" y="2028807"/>
                      <a:pt x="0" y="1999947"/>
                    </a:cubicBezTo>
                    <a:lnTo>
                      <a:pt x="259148" y="285117"/>
                    </a:lnTo>
                    <a:lnTo>
                      <a:pt x="319782" y="7894"/>
                    </a:lnTo>
                    <a:cubicBezTo>
                      <a:pt x="339721" y="3135"/>
                      <a:pt x="359328" y="443"/>
                      <a:pt x="378767" y="0"/>
                    </a:cubicBez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43" name="Isosceles Triangle 35"/>
              <p:cNvSpPr/>
              <p:nvPr/>
            </p:nvSpPr>
            <p:spPr>
              <a:xfrm>
                <a:off x="3081496" y="3232259"/>
                <a:ext cx="153711" cy="2068782"/>
              </a:xfrm>
              <a:custGeom>
                <a:avLst/>
                <a:gdLst/>
                <a:ahLst/>
                <a:cxnLst/>
                <a:rect l="l" t="t" r="r" b="b"/>
                <a:pathLst>
                  <a:path w="153711" h="2068782">
                    <a:moveTo>
                      <a:pt x="117624" y="0"/>
                    </a:moveTo>
                    <a:lnTo>
                      <a:pt x="153711" y="2067454"/>
                    </a:lnTo>
                    <a:cubicBezTo>
                      <a:pt x="138761" y="2068584"/>
                      <a:pt x="123595" y="2068782"/>
                      <a:pt x="108264" y="2068782"/>
                    </a:cubicBezTo>
                    <a:cubicBezTo>
                      <a:pt x="71048" y="2068782"/>
                      <a:pt x="34806" y="2067612"/>
                      <a:pt x="0" y="2064968"/>
                    </a:cubicBezTo>
                    <a:lnTo>
                      <a:pt x="100882" y="62"/>
                    </a:ln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grpSp>
        <p:sp>
          <p:nvSpPr>
            <p:cNvPr id="136" name="TextBox 135"/>
            <p:cNvSpPr txBox="1"/>
            <p:nvPr/>
          </p:nvSpPr>
          <p:spPr>
            <a:xfrm>
              <a:off x="593352" y="4340601"/>
              <a:ext cx="545333" cy="215444"/>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Aug-17</a:t>
              </a:r>
              <a:endParaRPr kumimoji="0" lang="en-US" sz="800" b="0" i="0" u="none" strike="noStrike" kern="0" cap="none" spc="0" normalizeH="0" baseline="0" noProof="0" dirty="0">
                <a:ln>
                  <a:noFill/>
                </a:ln>
                <a:solidFill>
                  <a:sysClr val="windowText" lastClr="000000"/>
                </a:solidFill>
                <a:effectLst/>
                <a:uLnTx/>
                <a:uFillTx/>
                <a:latin typeface="Calibri" pitchFamily="34" charset="0"/>
              </a:endParaRPr>
            </a:p>
          </p:txBody>
        </p:sp>
      </p:grpSp>
      <p:grpSp>
        <p:nvGrpSpPr>
          <p:cNvPr id="144" name="Group 143"/>
          <p:cNvGrpSpPr/>
          <p:nvPr/>
        </p:nvGrpSpPr>
        <p:grpSpPr>
          <a:xfrm>
            <a:off x="4448277" y="3700630"/>
            <a:ext cx="731520" cy="674159"/>
            <a:chOff x="557458" y="3881886"/>
            <a:chExt cx="731520" cy="674159"/>
          </a:xfrm>
        </p:grpSpPr>
        <p:grpSp>
          <p:nvGrpSpPr>
            <p:cNvPr id="145" name="Group 103"/>
            <p:cNvGrpSpPr>
              <a:grpSpLocks noChangeAspect="1"/>
            </p:cNvGrpSpPr>
            <p:nvPr/>
          </p:nvGrpSpPr>
          <p:grpSpPr>
            <a:xfrm>
              <a:off x="646980" y="3881886"/>
              <a:ext cx="353684" cy="414067"/>
              <a:chOff x="2526619" y="3231420"/>
              <a:chExt cx="1325880" cy="2447151"/>
            </a:xfrm>
          </p:grpSpPr>
          <p:sp>
            <p:nvSpPr>
              <p:cNvPr id="147" name="Rounded Rectangle 146"/>
              <p:cNvSpPr/>
              <p:nvPr/>
            </p:nvSpPr>
            <p:spPr>
              <a:xfrm>
                <a:off x="2526619" y="4539657"/>
                <a:ext cx="1325880" cy="1138914"/>
              </a:xfrm>
              <a:prstGeom prst="roundRect">
                <a:avLst>
                  <a:gd name="adj" fmla="val 5138"/>
                </a:avLst>
              </a:prstGeom>
              <a:solidFill>
                <a:srgbClr val="C11D07"/>
              </a:solidFill>
              <a:ln w="25400" cap="flat" cmpd="sng" algn="ctr">
                <a:noFill/>
                <a:prstDash val="solid"/>
              </a:ln>
              <a:effectLst>
                <a:outerShdw blurRad="317500" dist="38100" dir="5400000" algn="t" rotWithShape="0">
                  <a:prstClr val="black">
                    <a:alpha val="65000"/>
                  </a:prstClr>
                </a:outerShdw>
              </a:effectLst>
              <a:scene3d>
                <a:camera prst="perspectiveRelaxed" fov="7200000">
                  <a:rot lat="17673596" lon="0" rev="0"/>
                </a:camera>
                <a:lightRig rig="threePt" dir="t">
                  <a:rot lat="0" lon="0" rev="10200000"/>
                </a:lightRig>
              </a:scene3d>
              <a:sp3d extrusionH="38100" prstMaterial="plastic">
                <a:bevelT w="50800" h="508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48" name="Isosceles Triangle 35"/>
              <p:cNvSpPr/>
              <p:nvPr/>
            </p:nvSpPr>
            <p:spPr>
              <a:xfrm>
                <a:off x="2701879" y="3231420"/>
                <a:ext cx="975360" cy="2069621"/>
              </a:xfrm>
              <a:custGeom>
                <a:avLst/>
                <a:gdLst>
                  <a:gd name="connsiteX0" fmla="*/ 509840 w 975360"/>
                  <a:gd name="connsiteY0" fmla="*/ 792 h 2069621"/>
                  <a:gd name="connsiteX1" fmla="*/ 563039 w 975360"/>
                  <a:gd name="connsiteY1" fmla="*/ 10265 h 2069621"/>
                  <a:gd name="connsiteX2" fmla="*/ 975360 w 975360"/>
                  <a:gd name="connsiteY2" fmla="*/ 1885811 h 2069621"/>
                  <a:gd name="connsiteX3" fmla="*/ 487880 w 975360"/>
                  <a:gd name="connsiteY3" fmla="*/ 2069621 h 2069621"/>
                  <a:gd name="connsiteX4" fmla="*/ 400 w 975360"/>
                  <a:gd name="connsiteY4" fmla="*/ 1885811 h 2069621"/>
                  <a:gd name="connsiteX5" fmla="*/ 447 w 975360"/>
                  <a:gd name="connsiteY5" fmla="*/ 1885602 h 2069621"/>
                  <a:gd name="connsiteX6" fmla="*/ 0 w 975360"/>
                  <a:gd name="connsiteY6" fmla="*/ 1885602 h 2069621"/>
                  <a:gd name="connsiteX7" fmla="*/ 410486 w 975360"/>
                  <a:gd name="connsiteY7" fmla="*/ 8836 h 2069621"/>
                  <a:gd name="connsiteX8" fmla="*/ 509840 w 975360"/>
                  <a:gd name="connsiteY8" fmla="*/ 792 h 20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360" h="2069621">
                    <a:moveTo>
                      <a:pt x="509840" y="792"/>
                    </a:moveTo>
                    <a:cubicBezTo>
                      <a:pt x="527756" y="1978"/>
                      <a:pt x="545585" y="4458"/>
                      <a:pt x="563039" y="10265"/>
                    </a:cubicBezTo>
                    <a:lnTo>
                      <a:pt x="975360" y="1885811"/>
                    </a:lnTo>
                    <a:cubicBezTo>
                      <a:pt x="975360" y="2008368"/>
                      <a:pt x="757108" y="2069621"/>
                      <a:pt x="487880" y="2069621"/>
                    </a:cubicBezTo>
                    <a:cubicBezTo>
                      <a:pt x="218652" y="2069621"/>
                      <a:pt x="400" y="2008368"/>
                      <a:pt x="400" y="1885811"/>
                    </a:cubicBezTo>
                    <a:cubicBezTo>
                      <a:pt x="416" y="1885741"/>
                      <a:pt x="431" y="1885671"/>
                      <a:pt x="447" y="1885602"/>
                    </a:cubicBezTo>
                    <a:lnTo>
                      <a:pt x="0" y="1885602"/>
                    </a:lnTo>
                    <a:lnTo>
                      <a:pt x="410486" y="8836"/>
                    </a:lnTo>
                    <a:cubicBezTo>
                      <a:pt x="444336" y="757"/>
                      <a:pt x="477232" y="-1367"/>
                      <a:pt x="509840" y="792"/>
                    </a:cubicBezTo>
                    <a:close/>
                  </a:path>
                </a:pathLst>
              </a:custGeom>
              <a:gradFill>
                <a:gsLst>
                  <a:gs pos="0">
                    <a:srgbClr val="F82306"/>
                  </a:gs>
                  <a:gs pos="100000">
                    <a:srgbClr val="A01704"/>
                  </a:gs>
                  <a:gs pos="40000">
                    <a:srgbClr val="F83B22"/>
                  </a:gs>
                </a:gsLst>
                <a:lin ang="240000" scaled="0"/>
              </a:gradFill>
              <a:ln w="25400" cap="flat" cmpd="sng" algn="ctr">
                <a:noFill/>
                <a:prstDash val="solid"/>
              </a:ln>
              <a:effectLst>
                <a:innerShdw blurRad="317500" dist="50800" dir="3000000">
                  <a:prstClr val="black">
                    <a:alpha val="3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49" name="Isosceles Triangle 35"/>
              <p:cNvSpPr/>
              <p:nvPr/>
            </p:nvSpPr>
            <p:spPr>
              <a:xfrm>
                <a:off x="2753496" y="4525954"/>
                <a:ext cx="860697" cy="384360"/>
              </a:xfrm>
              <a:custGeom>
                <a:avLst/>
                <a:gdLst/>
                <a:ahLst/>
                <a:cxnLst/>
                <a:rect l="l" t="t" r="r" b="b"/>
                <a:pathLst>
                  <a:path w="860697" h="384360">
                    <a:moveTo>
                      <a:pt x="70995" y="0"/>
                    </a:moveTo>
                    <a:cubicBezTo>
                      <a:pt x="181101" y="30977"/>
                      <a:pt x="302713" y="47879"/>
                      <a:pt x="430508" y="47879"/>
                    </a:cubicBezTo>
                    <a:cubicBezTo>
                      <a:pt x="558047" y="47879"/>
                      <a:pt x="679426" y="31045"/>
                      <a:pt x="789368" y="226"/>
                    </a:cubicBezTo>
                    <a:lnTo>
                      <a:pt x="860697" y="324684"/>
                    </a:lnTo>
                    <a:cubicBezTo>
                      <a:pt x="727135" y="363624"/>
                      <a:pt x="582050" y="384360"/>
                      <a:pt x="430508" y="384360"/>
                    </a:cubicBezTo>
                    <a:cubicBezTo>
                      <a:pt x="278845" y="384360"/>
                      <a:pt x="133651" y="363591"/>
                      <a:pt x="0" y="324596"/>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50" name="Isosceles Triangle 35"/>
              <p:cNvSpPr/>
              <p:nvPr/>
            </p:nvSpPr>
            <p:spPr>
              <a:xfrm>
                <a:off x="2882253" y="3951642"/>
                <a:ext cx="603182" cy="353398"/>
              </a:xfrm>
              <a:custGeom>
                <a:avLst/>
                <a:gdLst/>
                <a:ahLst/>
                <a:cxnLst/>
                <a:rect l="l" t="t" r="r" b="b"/>
                <a:pathLst>
                  <a:path w="603182" h="353398">
                    <a:moveTo>
                      <a:pt x="68157" y="0"/>
                    </a:moveTo>
                    <a:cubicBezTo>
                      <a:pt x="141180" y="21147"/>
                      <a:pt x="220051" y="31240"/>
                      <a:pt x="302056" y="31240"/>
                    </a:cubicBezTo>
                    <a:cubicBezTo>
                      <a:pt x="383587" y="31240"/>
                      <a:pt x="462020" y="21263"/>
                      <a:pt x="534675" y="299"/>
                    </a:cubicBezTo>
                    <a:lnTo>
                      <a:pt x="603182" y="311919"/>
                    </a:lnTo>
                    <a:cubicBezTo>
                      <a:pt x="508278" y="338955"/>
                      <a:pt x="407075" y="353398"/>
                      <a:pt x="302056" y="353398"/>
                    </a:cubicBezTo>
                    <a:cubicBezTo>
                      <a:pt x="196690" y="353398"/>
                      <a:pt x="95166" y="338859"/>
                      <a:pt x="0" y="311618"/>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51" name="Isosceles Triangle 35"/>
              <p:cNvSpPr/>
              <p:nvPr/>
            </p:nvSpPr>
            <p:spPr>
              <a:xfrm>
                <a:off x="3006985" y="3432205"/>
                <a:ext cx="353718" cy="280374"/>
              </a:xfrm>
              <a:custGeom>
                <a:avLst/>
                <a:gdLst/>
                <a:ahLst/>
                <a:cxnLst/>
                <a:rect l="l" t="t" r="r" b="b"/>
                <a:pathLst>
                  <a:path w="353718" h="280374">
                    <a:moveTo>
                      <a:pt x="56505" y="0"/>
                    </a:moveTo>
                    <a:cubicBezTo>
                      <a:pt x="95458" y="7520"/>
                      <a:pt x="136018" y="11189"/>
                      <a:pt x="177626" y="11189"/>
                    </a:cubicBezTo>
                    <a:cubicBezTo>
                      <a:pt x="218579" y="11189"/>
                      <a:pt x="258515" y="7635"/>
                      <a:pt x="296925" y="462"/>
                    </a:cubicBezTo>
                    <a:lnTo>
                      <a:pt x="353718" y="258800"/>
                    </a:lnTo>
                    <a:cubicBezTo>
                      <a:pt x="297487" y="273547"/>
                      <a:pt x="238387" y="280374"/>
                      <a:pt x="177626" y="280374"/>
                    </a:cubicBezTo>
                    <a:cubicBezTo>
                      <a:pt x="116307" y="280374"/>
                      <a:pt x="56679" y="273421"/>
                      <a:pt x="0" y="258343"/>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52" name="Isosceles Triangle 35"/>
              <p:cNvSpPr/>
              <p:nvPr/>
            </p:nvSpPr>
            <p:spPr>
              <a:xfrm>
                <a:off x="2792584" y="3232362"/>
                <a:ext cx="378767" cy="2058550"/>
              </a:xfrm>
              <a:custGeom>
                <a:avLst/>
                <a:gdLst/>
                <a:ahLst/>
                <a:cxnLst/>
                <a:rect l="l" t="t" r="r" b="b"/>
                <a:pathLst>
                  <a:path w="378767" h="2058550">
                    <a:moveTo>
                      <a:pt x="378767" y="0"/>
                    </a:moveTo>
                    <a:lnTo>
                      <a:pt x="221834" y="2058550"/>
                    </a:lnTo>
                    <a:cubicBezTo>
                      <a:pt x="131841" y="2048309"/>
                      <a:pt x="54775" y="2028807"/>
                      <a:pt x="0" y="1999947"/>
                    </a:cubicBezTo>
                    <a:lnTo>
                      <a:pt x="259148" y="285117"/>
                    </a:lnTo>
                    <a:lnTo>
                      <a:pt x="319782" y="7894"/>
                    </a:lnTo>
                    <a:cubicBezTo>
                      <a:pt x="339721" y="3135"/>
                      <a:pt x="359328" y="443"/>
                      <a:pt x="378767" y="0"/>
                    </a:cubicBez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53" name="Isosceles Triangle 35"/>
              <p:cNvSpPr/>
              <p:nvPr/>
            </p:nvSpPr>
            <p:spPr>
              <a:xfrm>
                <a:off x="3081496" y="3232259"/>
                <a:ext cx="153711" cy="2068782"/>
              </a:xfrm>
              <a:custGeom>
                <a:avLst/>
                <a:gdLst/>
                <a:ahLst/>
                <a:cxnLst/>
                <a:rect l="l" t="t" r="r" b="b"/>
                <a:pathLst>
                  <a:path w="153711" h="2068782">
                    <a:moveTo>
                      <a:pt x="117624" y="0"/>
                    </a:moveTo>
                    <a:lnTo>
                      <a:pt x="153711" y="2067454"/>
                    </a:lnTo>
                    <a:cubicBezTo>
                      <a:pt x="138761" y="2068584"/>
                      <a:pt x="123595" y="2068782"/>
                      <a:pt x="108264" y="2068782"/>
                    </a:cubicBezTo>
                    <a:cubicBezTo>
                      <a:pt x="71048" y="2068782"/>
                      <a:pt x="34806" y="2067612"/>
                      <a:pt x="0" y="2064968"/>
                    </a:cubicBezTo>
                    <a:lnTo>
                      <a:pt x="100882" y="62"/>
                    </a:ln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grpSp>
        <p:sp>
          <p:nvSpPr>
            <p:cNvPr id="146" name="TextBox 145"/>
            <p:cNvSpPr txBox="1"/>
            <p:nvPr/>
          </p:nvSpPr>
          <p:spPr>
            <a:xfrm>
              <a:off x="557458" y="4340601"/>
              <a:ext cx="731520" cy="215444"/>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Aug/Sept-17</a:t>
              </a:r>
              <a:endParaRPr kumimoji="0" lang="en-US" sz="800" b="0" i="0" u="none" strike="noStrike" kern="0" cap="none" spc="0" normalizeH="0" baseline="0" noProof="0" dirty="0">
                <a:ln>
                  <a:noFill/>
                </a:ln>
                <a:solidFill>
                  <a:sysClr val="windowText" lastClr="000000"/>
                </a:solidFill>
                <a:effectLst/>
                <a:uLnTx/>
                <a:uFillTx/>
                <a:latin typeface="Calibri" pitchFamily="34" charset="0"/>
              </a:endParaRPr>
            </a:p>
          </p:txBody>
        </p:sp>
      </p:grpSp>
      <p:grpSp>
        <p:nvGrpSpPr>
          <p:cNvPr id="154" name="Group 153"/>
          <p:cNvGrpSpPr/>
          <p:nvPr/>
        </p:nvGrpSpPr>
        <p:grpSpPr>
          <a:xfrm>
            <a:off x="5383033" y="2714268"/>
            <a:ext cx="779225" cy="620132"/>
            <a:chOff x="504734" y="3881886"/>
            <a:chExt cx="785536" cy="627262"/>
          </a:xfrm>
        </p:grpSpPr>
        <p:grpSp>
          <p:nvGrpSpPr>
            <p:cNvPr id="155" name="Group 103"/>
            <p:cNvGrpSpPr>
              <a:grpSpLocks noChangeAspect="1"/>
            </p:cNvGrpSpPr>
            <p:nvPr/>
          </p:nvGrpSpPr>
          <p:grpSpPr>
            <a:xfrm>
              <a:off x="646980" y="3881886"/>
              <a:ext cx="353684" cy="414067"/>
              <a:chOff x="2526619" y="3231420"/>
              <a:chExt cx="1325880" cy="2447151"/>
            </a:xfrm>
          </p:grpSpPr>
          <p:sp>
            <p:nvSpPr>
              <p:cNvPr id="157" name="Rounded Rectangle 156"/>
              <p:cNvSpPr/>
              <p:nvPr/>
            </p:nvSpPr>
            <p:spPr>
              <a:xfrm>
                <a:off x="2526619" y="4539657"/>
                <a:ext cx="1325880" cy="1138914"/>
              </a:xfrm>
              <a:prstGeom prst="roundRect">
                <a:avLst>
                  <a:gd name="adj" fmla="val 5138"/>
                </a:avLst>
              </a:prstGeom>
              <a:solidFill>
                <a:srgbClr val="C11D07"/>
              </a:solidFill>
              <a:ln w="25400" cap="flat" cmpd="sng" algn="ctr">
                <a:noFill/>
                <a:prstDash val="solid"/>
              </a:ln>
              <a:effectLst>
                <a:outerShdw blurRad="317500" dist="38100" dir="5400000" algn="t" rotWithShape="0">
                  <a:prstClr val="black">
                    <a:alpha val="65000"/>
                  </a:prstClr>
                </a:outerShdw>
              </a:effectLst>
              <a:scene3d>
                <a:camera prst="perspectiveRelaxed" fov="7200000">
                  <a:rot lat="17673596" lon="0" rev="0"/>
                </a:camera>
                <a:lightRig rig="threePt" dir="t">
                  <a:rot lat="0" lon="0" rev="10200000"/>
                </a:lightRig>
              </a:scene3d>
              <a:sp3d extrusionH="38100" prstMaterial="plastic">
                <a:bevelT w="50800" h="508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58" name="Isosceles Triangle 35"/>
              <p:cNvSpPr/>
              <p:nvPr/>
            </p:nvSpPr>
            <p:spPr>
              <a:xfrm>
                <a:off x="2701879" y="3231420"/>
                <a:ext cx="975360" cy="2069621"/>
              </a:xfrm>
              <a:custGeom>
                <a:avLst/>
                <a:gdLst>
                  <a:gd name="connsiteX0" fmla="*/ 509840 w 975360"/>
                  <a:gd name="connsiteY0" fmla="*/ 792 h 2069621"/>
                  <a:gd name="connsiteX1" fmla="*/ 563039 w 975360"/>
                  <a:gd name="connsiteY1" fmla="*/ 10265 h 2069621"/>
                  <a:gd name="connsiteX2" fmla="*/ 975360 w 975360"/>
                  <a:gd name="connsiteY2" fmla="*/ 1885811 h 2069621"/>
                  <a:gd name="connsiteX3" fmla="*/ 487880 w 975360"/>
                  <a:gd name="connsiteY3" fmla="*/ 2069621 h 2069621"/>
                  <a:gd name="connsiteX4" fmla="*/ 400 w 975360"/>
                  <a:gd name="connsiteY4" fmla="*/ 1885811 h 2069621"/>
                  <a:gd name="connsiteX5" fmla="*/ 447 w 975360"/>
                  <a:gd name="connsiteY5" fmla="*/ 1885602 h 2069621"/>
                  <a:gd name="connsiteX6" fmla="*/ 0 w 975360"/>
                  <a:gd name="connsiteY6" fmla="*/ 1885602 h 2069621"/>
                  <a:gd name="connsiteX7" fmla="*/ 410486 w 975360"/>
                  <a:gd name="connsiteY7" fmla="*/ 8836 h 2069621"/>
                  <a:gd name="connsiteX8" fmla="*/ 509840 w 975360"/>
                  <a:gd name="connsiteY8" fmla="*/ 792 h 20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360" h="2069621">
                    <a:moveTo>
                      <a:pt x="509840" y="792"/>
                    </a:moveTo>
                    <a:cubicBezTo>
                      <a:pt x="527756" y="1978"/>
                      <a:pt x="545585" y="4458"/>
                      <a:pt x="563039" y="10265"/>
                    </a:cubicBezTo>
                    <a:lnTo>
                      <a:pt x="975360" y="1885811"/>
                    </a:lnTo>
                    <a:cubicBezTo>
                      <a:pt x="975360" y="2008368"/>
                      <a:pt x="757108" y="2069621"/>
                      <a:pt x="487880" y="2069621"/>
                    </a:cubicBezTo>
                    <a:cubicBezTo>
                      <a:pt x="218652" y="2069621"/>
                      <a:pt x="400" y="2008368"/>
                      <a:pt x="400" y="1885811"/>
                    </a:cubicBezTo>
                    <a:cubicBezTo>
                      <a:pt x="416" y="1885741"/>
                      <a:pt x="431" y="1885671"/>
                      <a:pt x="447" y="1885602"/>
                    </a:cubicBezTo>
                    <a:lnTo>
                      <a:pt x="0" y="1885602"/>
                    </a:lnTo>
                    <a:lnTo>
                      <a:pt x="410486" y="8836"/>
                    </a:lnTo>
                    <a:cubicBezTo>
                      <a:pt x="444336" y="757"/>
                      <a:pt x="477232" y="-1367"/>
                      <a:pt x="509840" y="792"/>
                    </a:cubicBezTo>
                    <a:close/>
                  </a:path>
                </a:pathLst>
              </a:custGeom>
              <a:gradFill>
                <a:gsLst>
                  <a:gs pos="0">
                    <a:srgbClr val="F82306"/>
                  </a:gs>
                  <a:gs pos="100000">
                    <a:srgbClr val="A01704"/>
                  </a:gs>
                  <a:gs pos="40000">
                    <a:srgbClr val="F83B22"/>
                  </a:gs>
                </a:gsLst>
                <a:lin ang="240000" scaled="0"/>
              </a:gradFill>
              <a:ln w="25400" cap="flat" cmpd="sng" algn="ctr">
                <a:noFill/>
                <a:prstDash val="solid"/>
              </a:ln>
              <a:effectLst>
                <a:innerShdw blurRad="317500" dist="50800" dir="3000000">
                  <a:prstClr val="black">
                    <a:alpha val="3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59" name="Isosceles Triangle 35"/>
              <p:cNvSpPr/>
              <p:nvPr/>
            </p:nvSpPr>
            <p:spPr>
              <a:xfrm>
                <a:off x="2753496" y="4525954"/>
                <a:ext cx="860697" cy="384360"/>
              </a:xfrm>
              <a:custGeom>
                <a:avLst/>
                <a:gdLst/>
                <a:ahLst/>
                <a:cxnLst/>
                <a:rect l="l" t="t" r="r" b="b"/>
                <a:pathLst>
                  <a:path w="860697" h="384360">
                    <a:moveTo>
                      <a:pt x="70995" y="0"/>
                    </a:moveTo>
                    <a:cubicBezTo>
                      <a:pt x="181101" y="30977"/>
                      <a:pt x="302713" y="47879"/>
                      <a:pt x="430508" y="47879"/>
                    </a:cubicBezTo>
                    <a:cubicBezTo>
                      <a:pt x="558047" y="47879"/>
                      <a:pt x="679426" y="31045"/>
                      <a:pt x="789368" y="226"/>
                    </a:cubicBezTo>
                    <a:lnTo>
                      <a:pt x="860697" y="324684"/>
                    </a:lnTo>
                    <a:cubicBezTo>
                      <a:pt x="727135" y="363624"/>
                      <a:pt x="582050" y="384360"/>
                      <a:pt x="430508" y="384360"/>
                    </a:cubicBezTo>
                    <a:cubicBezTo>
                      <a:pt x="278845" y="384360"/>
                      <a:pt x="133651" y="363591"/>
                      <a:pt x="0" y="324596"/>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60" name="Isosceles Triangle 35"/>
              <p:cNvSpPr/>
              <p:nvPr/>
            </p:nvSpPr>
            <p:spPr>
              <a:xfrm>
                <a:off x="2882253" y="3951642"/>
                <a:ext cx="603182" cy="353398"/>
              </a:xfrm>
              <a:custGeom>
                <a:avLst/>
                <a:gdLst/>
                <a:ahLst/>
                <a:cxnLst/>
                <a:rect l="l" t="t" r="r" b="b"/>
                <a:pathLst>
                  <a:path w="603182" h="353398">
                    <a:moveTo>
                      <a:pt x="68157" y="0"/>
                    </a:moveTo>
                    <a:cubicBezTo>
                      <a:pt x="141180" y="21147"/>
                      <a:pt x="220051" y="31240"/>
                      <a:pt x="302056" y="31240"/>
                    </a:cubicBezTo>
                    <a:cubicBezTo>
                      <a:pt x="383587" y="31240"/>
                      <a:pt x="462020" y="21263"/>
                      <a:pt x="534675" y="299"/>
                    </a:cubicBezTo>
                    <a:lnTo>
                      <a:pt x="603182" y="311919"/>
                    </a:lnTo>
                    <a:cubicBezTo>
                      <a:pt x="508278" y="338955"/>
                      <a:pt x="407075" y="353398"/>
                      <a:pt x="302056" y="353398"/>
                    </a:cubicBezTo>
                    <a:cubicBezTo>
                      <a:pt x="196690" y="353398"/>
                      <a:pt x="95166" y="338859"/>
                      <a:pt x="0" y="311618"/>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61" name="Isosceles Triangle 35"/>
              <p:cNvSpPr/>
              <p:nvPr/>
            </p:nvSpPr>
            <p:spPr>
              <a:xfrm>
                <a:off x="3006985" y="3432205"/>
                <a:ext cx="353718" cy="280374"/>
              </a:xfrm>
              <a:custGeom>
                <a:avLst/>
                <a:gdLst/>
                <a:ahLst/>
                <a:cxnLst/>
                <a:rect l="l" t="t" r="r" b="b"/>
                <a:pathLst>
                  <a:path w="353718" h="280374">
                    <a:moveTo>
                      <a:pt x="56505" y="0"/>
                    </a:moveTo>
                    <a:cubicBezTo>
                      <a:pt x="95458" y="7520"/>
                      <a:pt x="136018" y="11189"/>
                      <a:pt x="177626" y="11189"/>
                    </a:cubicBezTo>
                    <a:cubicBezTo>
                      <a:pt x="218579" y="11189"/>
                      <a:pt x="258515" y="7635"/>
                      <a:pt x="296925" y="462"/>
                    </a:cubicBezTo>
                    <a:lnTo>
                      <a:pt x="353718" y="258800"/>
                    </a:lnTo>
                    <a:cubicBezTo>
                      <a:pt x="297487" y="273547"/>
                      <a:pt x="238387" y="280374"/>
                      <a:pt x="177626" y="280374"/>
                    </a:cubicBezTo>
                    <a:cubicBezTo>
                      <a:pt x="116307" y="280374"/>
                      <a:pt x="56679" y="273421"/>
                      <a:pt x="0" y="258343"/>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62" name="Isosceles Triangle 35"/>
              <p:cNvSpPr/>
              <p:nvPr/>
            </p:nvSpPr>
            <p:spPr>
              <a:xfrm>
                <a:off x="2792584" y="3232362"/>
                <a:ext cx="378767" cy="2058550"/>
              </a:xfrm>
              <a:custGeom>
                <a:avLst/>
                <a:gdLst/>
                <a:ahLst/>
                <a:cxnLst/>
                <a:rect l="l" t="t" r="r" b="b"/>
                <a:pathLst>
                  <a:path w="378767" h="2058550">
                    <a:moveTo>
                      <a:pt x="378767" y="0"/>
                    </a:moveTo>
                    <a:lnTo>
                      <a:pt x="221834" y="2058550"/>
                    </a:lnTo>
                    <a:cubicBezTo>
                      <a:pt x="131841" y="2048309"/>
                      <a:pt x="54775" y="2028807"/>
                      <a:pt x="0" y="1999947"/>
                    </a:cubicBezTo>
                    <a:lnTo>
                      <a:pt x="259148" y="285117"/>
                    </a:lnTo>
                    <a:lnTo>
                      <a:pt x="319782" y="7894"/>
                    </a:lnTo>
                    <a:cubicBezTo>
                      <a:pt x="339721" y="3135"/>
                      <a:pt x="359328" y="443"/>
                      <a:pt x="378767" y="0"/>
                    </a:cubicBez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63" name="Isosceles Triangle 35"/>
              <p:cNvSpPr/>
              <p:nvPr/>
            </p:nvSpPr>
            <p:spPr>
              <a:xfrm>
                <a:off x="3081496" y="3232260"/>
                <a:ext cx="153711" cy="2068782"/>
              </a:xfrm>
              <a:custGeom>
                <a:avLst/>
                <a:gdLst/>
                <a:ahLst/>
                <a:cxnLst/>
                <a:rect l="l" t="t" r="r" b="b"/>
                <a:pathLst>
                  <a:path w="153711" h="2068782">
                    <a:moveTo>
                      <a:pt x="117624" y="0"/>
                    </a:moveTo>
                    <a:lnTo>
                      <a:pt x="153711" y="2067454"/>
                    </a:lnTo>
                    <a:cubicBezTo>
                      <a:pt x="138761" y="2068584"/>
                      <a:pt x="123595" y="2068782"/>
                      <a:pt x="108264" y="2068782"/>
                    </a:cubicBezTo>
                    <a:cubicBezTo>
                      <a:pt x="71048" y="2068782"/>
                      <a:pt x="34806" y="2067612"/>
                      <a:pt x="0" y="2064968"/>
                    </a:cubicBezTo>
                    <a:lnTo>
                      <a:pt x="100882" y="62"/>
                    </a:ln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grpSp>
        <p:sp>
          <p:nvSpPr>
            <p:cNvPr id="156" name="TextBox 155"/>
            <p:cNvSpPr txBox="1"/>
            <p:nvPr/>
          </p:nvSpPr>
          <p:spPr>
            <a:xfrm>
              <a:off x="504734" y="4291227"/>
              <a:ext cx="785536" cy="217921"/>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Aug/Sept-17</a:t>
              </a:r>
              <a:endParaRPr kumimoji="0" lang="en-US" sz="800" b="0" i="0" u="none" strike="noStrike" kern="0" cap="none" spc="0" normalizeH="0" baseline="0" noProof="0" dirty="0">
                <a:ln>
                  <a:noFill/>
                </a:ln>
                <a:solidFill>
                  <a:sysClr val="windowText" lastClr="000000"/>
                </a:solidFill>
                <a:effectLst/>
                <a:uLnTx/>
                <a:uFillTx/>
                <a:latin typeface="Calibri" pitchFamily="34" charset="0"/>
              </a:endParaRPr>
            </a:p>
          </p:txBody>
        </p:sp>
      </p:grpSp>
      <p:grpSp>
        <p:nvGrpSpPr>
          <p:cNvPr id="164" name="Group 163"/>
          <p:cNvGrpSpPr/>
          <p:nvPr/>
        </p:nvGrpSpPr>
        <p:grpSpPr>
          <a:xfrm>
            <a:off x="6390653" y="3696694"/>
            <a:ext cx="545333" cy="674159"/>
            <a:chOff x="593352" y="3881886"/>
            <a:chExt cx="545333" cy="674159"/>
          </a:xfrm>
        </p:grpSpPr>
        <p:grpSp>
          <p:nvGrpSpPr>
            <p:cNvPr id="165" name="Group 103"/>
            <p:cNvGrpSpPr>
              <a:grpSpLocks noChangeAspect="1"/>
            </p:cNvGrpSpPr>
            <p:nvPr/>
          </p:nvGrpSpPr>
          <p:grpSpPr>
            <a:xfrm>
              <a:off x="646980" y="3881886"/>
              <a:ext cx="353684" cy="414067"/>
              <a:chOff x="2526619" y="3231420"/>
              <a:chExt cx="1325880" cy="2447151"/>
            </a:xfrm>
          </p:grpSpPr>
          <p:sp>
            <p:nvSpPr>
              <p:cNvPr id="167" name="Rounded Rectangle 166"/>
              <p:cNvSpPr/>
              <p:nvPr/>
            </p:nvSpPr>
            <p:spPr>
              <a:xfrm>
                <a:off x="2526619" y="4539657"/>
                <a:ext cx="1325880" cy="1138914"/>
              </a:xfrm>
              <a:prstGeom prst="roundRect">
                <a:avLst>
                  <a:gd name="adj" fmla="val 5138"/>
                </a:avLst>
              </a:prstGeom>
              <a:solidFill>
                <a:srgbClr val="C11D07"/>
              </a:solidFill>
              <a:ln w="25400" cap="flat" cmpd="sng" algn="ctr">
                <a:noFill/>
                <a:prstDash val="solid"/>
              </a:ln>
              <a:effectLst>
                <a:outerShdw blurRad="317500" dist="38100" dir="5400000" algn="t" rotWithShape="0">
                  <a:prstClr val="black">
                    <a:alpha val="65000"/>
                  </a:prstClr>
                </a:outerShdw>
              </a:effectLst>
              <a:scene3d>
                <a:camera prst="perspectiveRelaxed" fov="7200000">
                  <a:rot lat="17673596" lon="0" rev="0"/>
                </a:camera>
                <a:lightRig rig="threePt" dir="t">
                  <a:rot lat="0" lon="0" rev="10200000"/>
                </a:lightRig>
              </a:scene3d>
              <a:sp3d extrusionH="38100" prstMaterial="plastic">
                <a:bevelT w="50800" h="508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68" name="Isosceles Triangle 35"/>
              <p:cNvSpPr/>
              <p:nvPr/>
            </p:nvSpPr>
            <p:spPr>
              <a:xfrm>
                <a:off x="2701878" y="3231420"/>
                <a:ext cx="975359" cy="2069624"/>
              </a:xfrm>
              <a:custGeom>
                <a:avLst/>
                <a:gdLst>
                  <a:gd name="connsiteX0" fmla="*/ 509840 w 975360"/>
                  <a:gd name="connsiteY0" fmla="*/ 792 h 2069621"/>
                  <a:gd name="connsiteX1" fmla="*/ 563039 w 975360"/>
                  <a:gd name="connsiteY1" fmla="*/ 10265 h 2069621"/>
                  <a:gd name="connsiteX2" fmla="*/ 975360 w 975360"/>
                  <a:gd name="connsiteY2" fmla="*/ 1885811 h 2069621"/>
                  <a:gd name="connsiteX3" fmla="*/ 487880 w 975360"/>
                  <a:gd name="connsiteY3" fmla="*/ 2069621 h 2069621"/>
                  <a:gd name="connsiteX4" fmla="*/ 400 w 975360"/>
                  <a:gd name="connsiteY4" fmla="*/ 1885811 h 2069621"/>
                  <a:gd name="connsiteX5" fmla="*/ 447 w 975360"/>
                  <a:gd name="connsiteY5" fmla="*/ 1885602 h 2069621"/>
                  <a:gd name="connsiteX6" fmla="*/ 0 w 975360"/>
                  <a:gd name="connsiteY6" fmla="*/ 1885602 h 2069621"/>
                  <a:gd name="connsiteX7" fmla="*/ 410486 w 975360"/>
                  <a:gd name="connsiteY7" fmla="*/ 8836 h 2069621"/>
                  <a:gd name="connsiteX8" fmla="*/ 509840 w 975360"/>
                  <a:gd name="connsiteY8" fmla="*/ 792 h 20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360" h="2069621">
                    <a:moveTo>
                      <a:pt x="509840" y="792"/>
                    </a:moveTo>
                    <a:cubicBezTo>
                      <a:pt x="527756" y="1978"/>
                      <a:pt x="545585" y="4458"/>
                      <a:pt x="563039" y="10265"/>
                    </a:cubicBezTo>
                    <a:lnTo>
                      <a:pt x="975360" y="1885811"/>
                    </a:lnTo>
                    <a:cubicBezTo>
                      <a:pt x="975360" y="2008368"/>
                      <a:pt x="757108" y="2069621"/>
                      <a:pt x="487880" y="2069621"/>
                    </a:cubicBezTo>
                    <a:cubicBezTo>
                      <a:pt x="218652" y="2069621"/>
                      <a:pt x="400" y="2008368"/>
                      <a:pt x="400" y="1885811"/>
                    </a:cubicBezTo>
                    <a:cubicBezTo>
                      <a:pt x="416" y="1885741"/>
                      <a:pt x="431" y="1885671"/>
                      <a:pt x="447" y="1885602"/>
                    </a:cubicBezTo>
                    <a:lnTo>
                      <a:pt x="0" y="1885602"/>
                    </a:lnTo>
                    <a:lnTo>
                      <a:pt x="410486" y="8836"/>
                    </a:lnTo>
                    <a:cubicBezTo>
                      <a:pt x="444336" y="757"/>
                      <a:pt x="477232" y="-1367"/>
                      <a:pt x="509840" y="792"/>
                    </a:cubicBezTo>
                    <a:close/>
                  </a:path>
                </a:pathLst>
              </a:custGeom>
              <a:gradFill>
                <a:gsLst>
                  <a:gs pos="0">
                    <a:srgbClr val="F82306"/>
                  </a:gs>
                  <a:gs pos="100000">
                    <a:srgbClr val="A01704"/>
                  </a:gs>
                  <a:gs pos="40000">
                    <a:srgbClr val="F83B22"/>
                  </a:gs>
                </a:gsLst>
                <a:lin ang="240000" scaled="0"/>
              </a:gradFill>
              <a:ln w="25400" cap="flat" cmpd="sng" algn="ctr">
                <a:noFill/>
                <a:prstDash val="solid"/>
              </a:ln>
              <a:effectLst>
                <a:innerShdw blurRad="317500" dist="50800" dir="3000000">
                  <a:prstClr val="black">
                    <a:alpha val="3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69" name="Isosceles Triangle 35"/>
              <p:cNvSpPr/>
              <p:nvPr/>
            </p:nvSpPr>
            <p:spPr>
              <a:xfrm>
                <a:off x="2753496" y="4525954"/>
                <a:ext cx="860697" cy="384360"/>
              </a:xfrm>
              <a:custGeom>
                <a:avLst/>
                <a:gdLst/>
                <a:ahLst/>
                <a:cxnLst/>
                <a:rect l="l" t="t" r="r" b="b"/>
                <a:pathLst>
                  <a:path w="860697" h="384360">
                    <a:moveTo>
                      <a:pt x="70995" y="0"/>
                    </a:moveTo>
                    <a:cubicBezTo>
                      <a:pt x="181101" y="30977"/>
                      <a:pt x="302713" y="47879"/>
                      <a:pt x="430508" y="47879"/>
                    </a:cubicBezTo>
                    <a:cubicBezTo>
                      <a:pt x="558047" y="47879"/>
                      <a:pt x="679426" y="31045"/>
                      <a:pt x="789368" y="226"/>
                    </a:cubicBezTo>
                    <a:lnTo>
                      <a:pt x="860697" y="324684"/>
                    </a:lnTo>
                    <a:cubicBezTo>
                      <a:pt x="727135" y="363624"/>
                      <a:pt x="582050" y="384360"/>
                      <a:pt x="430508" y="384360"/>
                    </a:cubicBezTo>
                    <a:cubicBezTo>
                      <a:pt x="278845" y="384360"/>
                      <a:pt x="133651" y="363591"/>
                      <a:pt x="0" y="324596"/>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70" name="Isosceles Triangle 35"/>
              <p:cNvSpPr/>
              <p:nvPr/>
            </p:nvSpPr>
            <p:spPr>
              <a:xfrm>
                <a:off x="2882253" y="3951642"/>
                <a:ext cx="603182" cy="353398"/>
              </a:xfrm>
              <a:custGeom>
                <a:avLst/>
                <a:gdLst/>
                <a:ahLst/>
                <a:cxnLst/>
                <a:rect l="l" t="t" r="r" b="b"/>
                <a:pathLst>
                  <a:path w="603182" h="353398">
                    <a:moveTo>
                      <a:pt x="68157" y="0"/>
                    </a:moveTo>
                    <a:cubicBezTo>
                      <a:pt x="141180" y="21147"/>
                      <a:pt x="220051" y="31240"/>
                      <a:pt x="302056" y="31240"/>
                    </a:cubicBezTo>
                    <a:cubicBezTo>
                      <a:pt x="383587" y="31240"/>
                      <a:pt x="462020" y="21263"/>
                      <a:pt x="534675" y="299"/>
                    </a:cubicBezTo>
                    <a:lnTo>
                      <a:pt x="603182" y="311919"/>
                    </a:lnTo>
                    <a:cubicBezTo>
                      <a:pt x="508278" y="338955"/>
                      <a:pt x="407075" y="353398"/>
                      <a:pt x="302056" y="353398"/>
                    </a:cubicBezTo>
                    <a:cubicBezTo>
                      <a:pt x="196690" y="353398"/>
                      <a:pt x="95166" y="338859"/>
                      <a:pt x="0" y="311618"/>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71" name="Isosceles Triangle 35"/>
              <p:cNvSpPr/>
              <p:nvPr/>
            </p:nvSpPr>
            <p:spPr>
              <a:xfrm>
                <a:off x="3006985" y="3432205"/>
                <a:ext cx="353718" cy="280374"/>
              </a:xfrm>
              <a:custGeom>
                <a:avLst/>
                <a:gdLst/>
                <a:ahLst/>
                <a:cxnLst/>
                <a:rect l="l" t="t" r="r" b="b"/>
                <a:pathLst>
                  <a:path w="353718" h="280374">
                    <a:moveTo>
                      <a:pt x="56505" y="0"/>
                    </a:moveTo>
                    <a:cubicBezTo>
                      <a:pt x="95458" y="7520"/>
                      <a:pt x="136018" y="11189"/>
                      <a:pt x="177626" y="11189"/>
                    </a:cubicBezTo>
                    <a:cubicBezTo>
                      <a:pt x="218579" y="11189"/>
                      <a:pt x="258515" y="7635"/>
                      <a:pt x="296925" y="462"/>
                    </a:cubicBezTo>
                    <a:lnTo>
                      <a:pt x="353718" y="258800"/>
                    </a:lnTo>
                    <a:cubicBezTo>
                      <a:pt x="297487" y="273547"/>
                      <a:pt x="238387" y="280374"/>
                      <a:pt x="177626" y="280374"/>
                    </a:cubicBezTo>
                    <a:cubicBezTo>
                      <a:pt x="116307" y="280374"/>
                      <a:pt x="56679" y="273421"/>
                      <a:pt x="0" y="258343"/>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72" name="Isosceles Triangle 35"/>
              <p:cNvSpPr/>
              <p:nvPr/>
            </p:nvSpPr>
            <p:spPr>
              <a:xfrm>
                <a:off x="2792584" y="3232362"/>
                <a:ext cx="378767" cy="2058550"/>
              </a:xfrm>
              <a:custGeom>
                <a:avLst/>
                <a:gdLst/>
                <a:ahLst/>
                <a:cxnLst/>
                <a:rect l="l" t="t" r="r" b="b"/>
                <a:pathLst>
                  <a:path w="378767" h="2058550">
                    <a:moveTo>
                      <a:pt x="378767" y="0"/>
                    </a:moveTo>
                    <a:lnTo>
                      <a:pt x="221834" y="2058550"/>
                    </a:lnTo>
                    <a:cubicBezTo>
                      <a:pt x="131841" y="2048309"/>
                      <a:pt x="54775" y="2028807"/>
                      <a:pt x="0" y="1999947"/>
                    </a:cubicBezTo>
                    <a:lnTo>
                      <a:pt x="259148" y="285117"/>
                    </a:lnTo>
                    <a:lnTo>
                      <a:pt x="319782" y="7894"/>
                    </a:lnTo>
                    <a:cubicBezTo>
                      <a:pt x="339721" y="3135"/>
                      <a:pt x="359328" y="443"/>
                      <a:pt x="378767" y="0"/>
                    </a:cubicBez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73" name="Isosceles Triangle 35"/>
              <p:cNvSpPr/>
              <p:nvPr/>
            </p:nvSpPr>
            <p:spPr>
              <a:xfrm>
                <a:off x="3081496" y="3232259"/>
                <a:ext cx="153711" cy="2068782"/>
              </a:xfrm>
              <a:custGeom>
                <a:avLst/>
                <a:gdLst/>
                <a:ahLst/>
                <a:cxnLst/>
                <a:rect l="l" t="t" r="r" b="b"/>
                <a:pathLst>
                  <a:path w="153711" h="2068782">
                    <a:moveTo>
                      <a:pt x="117624" y="0"/>
                    </a:moveTo>
                    <a:lnTo>
                      <a:pt x="153711" y="2067454"/>
                    </a:lnTo>
                    <a:cubicBezTo>
                      <a:pt x="138761" y="2068584"/>
                      <a:pt x="123595" y="2068782"/>
                      <a:pt x="108264" y="2068782"/>
                    </a:cubicBezTo>
                    <a:cubicBezTo>
                      <a:pt x="71048" y="2068782"/>
                      <a:pt x="34806" y="2067612"/>
                      <a:pt x="0" y="2064968"/>
                    </a:cubicBezTo>
                    <a:lnTo>
                      <a:pt x="100882" y="62"/>
                    </a:ln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grpSp>
        <p:sp>
          <p:nvSpPr>
            <p:cNvPr id="166" name="TextBox 165"/>
            <p:cNvSpPr txBox="1"/>
            <p:nvPr/>
          </p:nvSpPr>
          <p:spPr>
            <a:xfrm>
              <a:off x="593352" y="4340601"/>
              <a:ext cx="545333" cy="215444"/>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Sept-17</a:t>
              </a:r>
              <a:endParaRPr kumimoji="0" lang="en-US" sz="800" b="0" i="0" u="none" strike="noStrike" kern="0" cap="none" spc="0" normalizeH="0" baseline="0" noProof="0" dirty="0">
                <a:ln>
                  <a:noFill/>
                </a:ln>
                <a:solidFill>
                  <a:sysClr val="windowText" lastClr="000000"/>
                </a:solidFill>
                <a:effectLst/>
                <a:uLnTx/>
                <a:uFillTx/>
                <a:latin typeface="Calibri" pitchFamily="34" charset="0"/>
              </a:endParaRPr>
            </a:p>
          </p:txBody>
        </p:sp>
      </p:grpSp>
      <p:grpSp>
        <p:nvGrpSpPr>
          <p:cNvPr id="174" name="Group 173"/>
          <p:cNvGrpSpPr/>
          <p:nvPr/>
        </p:nvGrpSpPr>
        <p:grpSpPr>
          <a:xfrm>
            <a:off x="7339050" y="2687540"/>
            <a:ext cx="667910" cy="820830"/>
            <a:chOff x="593352" y="3881886"/>
            <a:chExt cx="545333" cy="797269"/>
          </a:xfrm>
        </p:grpSpPr>
        <p:grpSp>
          <p:nvGrpSpPr>
            <p:cNvPr id="175" name="Group 103"/>
            <p:cNvGrpSpPr>
              <a:grpSpLocks noChangeAspect="1"/>
            </p:cNvGrpSpPr>
            <p:nvPr/>
          </p:nvGrpSpPr>
          <p:grpSpPr>
            <a:xfrm>
              <a:off x="646980" y="3881886"/>
              <a:ext cx="353684" cy="414067"/>
              <a:chOff x="2526619" y="3231420"/>
              <a:chExt cx="1325880" cy="2447151"/>
            </a:xfrm>
          </p:grpSpPr>
          <p:sp>
            <p:nvSpPr>
              <p:cNvPr id="177" name="Rounded Rectangle 176"/>
              <p:cNvSpPr/>
              <p:nvPr/>
            </p:nvSpPr>
            <p:spPr>
              <a:xfrm>
                <a:off x="2526619" y="4539657"/>
                <a:ext cx="1325880" cy="1138914"/>
              </a:xfrm>
              <a:prstGeom prst="roundRect">
                <a:avLst>
                  <a:gd name="adj" fmla="val 5138"/>
                </a:avLst>
              </a:prstGeom>
              <a:solidFill>
                <a:srgbClr val="C11D07"/>
              </a:solidFill>
              <a:ln w="25400" cap="flat" cmpd="sng" algn="ctr">
                <a:noFill/>
                <a:prstDash val="solid"/>
              </a:ln>
              <a:effectLst>
                <a:outerShdw blurRad="317500" dist="38100" dir="5400000" algn="t" rotWithShape="0">
                  <a:prstClr val="black">
                    <a:alpha val="65000"/>
                  </a:prstClr>
                </a:outerShdw>
              </a:effectLst>
              <a:scene3d>
                <a:camera prst="perspectiveRelaxed" fov="7200000">
                  <a:rot lat="17673596" lon="0" rev="0"/>
                </a:camera>
                <a:lightRig rig="threePt" dir="t">
                  <a:rot lat="0" lon="0" rev="10200000"/>
                </a:lightRig>
              </a:scene3d>
              <a:sp3d extrusionH="38100" prstMaterial="plastic">
                <a:bevelT w="50800" h="508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78" name="Isosceles Triangle 35"/>
              <p:cNvSpPr/>
              <p:nvPr/>
            </p:nvSpPr>
            <p:spPr>
              <a:xfrm>
                <a:off x="2701879" y="3231420"/>
                <a:ext cx="975360" cy="2069621"/>
              </a:xfrm>
              <a:custGeom>
                <a:avLst/>
                <a:gdLst>
                  <a:gd name="connsiteX0" fmla="*/ 509840 w 975360"/>
                  <a:gd name="connsiteY0" fmla="*/ 792 h 2069621"/>
                  <a:gd name="connsiteX1" fmla="*/ 563039 w 975360"/>
                  <a:gd name="connsiteY1" fmla="*/ 10265 h 2069621"/>
                  <a:gd name="connsiteX2" fmla="*/ 975360 w 975360"/>
                  <a:gd name="connsiteY2" fmla="*/ 1885811 h 2069621"/>
                  <a:gd name="connsiteX3" fmla="*/ 487880 w 975360"/>
                  <a:gd name="connsiteY3" fmla="*/ 2069621 h 2069621"/>
                  <a:gd name="connsiteX4" fmla="*/ 400 w 975360"/>
                  <a:gd name="connsiteY4" fmla="*/ 1885811 h 2069621"/>
                  <a:gd name="connsiteX5" fmla="*/ 447 w 975360"/>
                  <a:gd name="connsiteY5" fmla="*/ 1885602 h 2069621"/>
                  <a:gd name="connsiteX6" fmla="*/ 0 w 975360"/>
                  <a:gd name="connsiteY6" fmla="*/ 1885602 h 2069621"/>
                  <a:gd name="connsiteX7" fmla="*/ 410486 w 975360"/>
                  <a:gd name="connsiteY7" fmla="*/ 8836 h 2069621"/>
                  <a:gd name="connsiteX8" fmla="*/ 509840 w 975360"/>
                  <a:gd name="connsiteY8" fmla="*/ 792 h 20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360" h="2069621">
                    <a:moveTo>
                      <a:pt x="509840" y="792"/>
                    </a:moveTo>
                    <a:cubicBezTo>
                      <a:pt x="527756" y="1978"/>
                      <a:pt x="545585" y="4458"/>
                      <a:pt x="563039" y="10265"/>
                    </a:cubicBezTo>
                    <a:lnTo>
                      <a:pt x="975360" y="1885811"/>
                    </a:lnTo>
                    <a:cubicBezTo>
                      <a:pt x="975360" y="2008368"/>
                      <a:pt x="757108" y="2069621"/>
                      <a:pt x="487880" y="2069621"/>
                    </a:cubicBezTo>
                    <a:cubicBezTo>
                      <a:pt x="218652" y="2069621"/>
                      <a:pt x="400" y="2008368"/>
                      <a:pt x="400" y="1885811"/>
                    </a:cubicBezTo>
                    <a:cubicBezTo>
                      <a:pt x="416" y="1885741"/>
                      <a:pt x="431" y="1885671"/>
                      <a:pt x="447" y="1885602"/>
                    </a:cubicBezTo>
                    <a:lnTo>
                      <a:pt x="0" y="1885602"/>
                    </a:lnTo>
                    <a:lnTo>
                      <a:pt x="410486" y="8836"/>
                    </a:lnTo>
                    <a:cubicBezTo>
                      <a:pt x="444336" y="757"/>
                      <a:pt x="477232" y="-1367"/>
                      <a:pt x="509840" y="792"/>
                    </a:cubicBezTo>
                    <a:close/>
                  </a:path>
                </a:pathLst>
              </a:custGeom>
              <a:gradFill>
                <a:gsLst>
                  <a:gs pos="0">
                    <a:srgbClr val="F82306"/>
                  </a:gs>
                  <a:gs pos="100000">
                    <a:srgbClr val="A01704"/>
                  </a:gs>
                  <a:gs pos="40000">
                    <a:srgbClr val="F83B22"/>
                  </a:gs>
                </a:gsLst>
                <a:lin ang="240000" scaled="0"/>
              </a:gradFill>
              <a:ln w="25400" cap="flat" cmpd="sng" algn="ctr">
                <a:noFill/>
                <a:prstDash val="solid"/>
              </a:ln>
              <a:effectLst>
                <a:innerShdw blurRad="317500" dist="50800" dir="3000000">
                  <a:prstClr val="black">
                    <a:alpha val="3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79" name="Isosceles Triangle 35"/>
              <p:cNvSpPr/>
              <p:nvPr/>
            </p:nvSpPr>
            <p:spPr>
              <a:xfrm>
                <a:off x="2753496" y="4525954"/>
                <a:ext cx="860697" cy="384360"/>
              </a:xfrm>
              <a:custGeom>
                <a:avLst/>
                <a:gdLst/>
                <a:ahLst/>
                <a:cxnLst/>
                <a:rect l="l" t="t" r="r" b="b"/>
                <a:pathLst>
                  <a:path w="860697" h="384360">
                    <a:moveTo>
                      <a:pt x="70995" y="0"/>
                    </a:moveTo>
                    <a:cubicBezTo>
                      <a:pt x="181101" y="30977"/>
                      <a:pt x="302713" y="47879"/>
                      <a:pt x="430508" y="47879"/>
                    </a:cubicBezTo>
                    <a:cubicBezTo>
                      <a:pt x="558047" y="47879"/>
                      <a:pt x="679426" y="31045"/>
                      <a:pt x="789368" y="226"/>
                    </a:cubicBezTo>
                    <a:lnTo>
                      <a:pt x="860697" y="324684"/>
                    </a:lnTo>
                    <a:cubicBezTo>
                      <a:pt x="727135" y="363624"/>
                      <a:pt x="582050" y="384360"/>
                      <a:pt x="430508" y="384360"/>
                    </a:cubicBezTo>
                    <a:cubicBezTo>
                      <a:pt x="278845" y="384360"/>
                      <a:pt x="133651" y="363591"/>
                      <a:pt x="0" y="324596"/>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80" name="Isosceles Triangle 35"/>
              <p:cNvSpPr/>
              <p:nvPr/>
            </p:nvSpPr>
            <p:spPr>
              <a:xfrm>
                <a:off x="2882253" y="3951642"/>
                <a:ext cx="603182" cy="353398"/>
              </a:xfrm>
              <a:custGeom>
                <a:avLst/>
                <a:gdLst/>
                <a:ahLst/>
                <a:cxnLst/>
                <a:rect l="l" t="t" r="r" b="b"/>
                <a:pathLst>
                  <a:path w="603182" h="353398">
                    <a:moveTo>
                      <a:pt x="68157" y="0"/>
                    </a:moveTo>
                    <a:cubicBezTo>
                      <a:pt x="141180" y="21147"/>
                      <a:pt x="220051" y="31240"/>
                      <a:pt x="302056" y="31240"/>
                    </a:cubicBezTo>
                    <a:cubicBezTo>
                      <a:pt x="383587" y="31240"/>
                      <a:pt x="462020" y="21263"/>
                      <a:pt x="534675" y="299"/>
                    </a:cubicBezTo>
                    <a:lnTo>
                      <a:pt x="603182" y="311919"/>
                    </a:lnTo>
                    <a:cubicBezTo>
                      <a:pt x="508278" y="338955"/>
                      <a:pt x="407075" y="353398"/>
                      <a:pt x="302056" y="353398"/>
                    </a:cubicBezTo>
                    <a:cubicBezTo>
                      <a:pt x="196690" y="353398"/>
                      <a:pt x="95166" y="338859"/>
                      <a:pt x="0" y="311618"/>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81" name="Isosceles Triangle 35"/>
              <p:cNvSpPr/>
              <p:nvPr/>
            </p:nvSpPr>
            <p:spPr>
              <a:xfrm>
                <a:off x="3006985" y="3432205"/>
                <a:ext cx="353718" cy="280374"/>
              </a:xfrm>
              <a:custGeom>
                <a:avLst/>
                <a:gdLst/>
                <a:ahLst/>
                <a:cxnLst/>
                <a:rect l="l" t="t" r="r" b="b"/>
                <a:pathLst>
                  <a:path w="353718" h="280374">
                    <a:moveTo>
                      <a:pt x="56505" y="0"/>
                    </a:moveTo>
                    <a:cubicBezTo>
                      <a:pt x="95458" y="7520"/>
                      <a:pt x="136018" y="11189"/>
                      <a:pt x="177626" y="11189"/>
                    </a:cubicBezTo>
                    <a:cubicBezTo>
                      <a:pt x="218579" y="11189"/>
                      <a:pt x="258515" y="7635"/>
                      <a:pt x="296925" y="462"/>
                    </a:cubicBezTo>
                    <a:lnTo>
                      <a:pt x="353718" y="258800"/>
                    </a:lnTo>
                    <a:cubicBezTo>
                      <a:pt x="297487" y="273547"/>
                      <a:pt x="238387" y="280374"/>
                      <a:pt x="177626" y="280374"/>
                    </a:cubicBezTo>
                    <a:cubicBezTo>
                      <a:pt x="116307" y="280374"/>
                      <a:pt x="56679" y="273421"/>
                      <a:pt x="0" y="258343"/>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82" name="Isosceles Triangle 35"/>
              <p:cNvSpPr/>
              <p:nvPr/>
            </p:nvSpPr>
            <p:spPr>
              <a:xfrm>
                <a:off x="2792584" y="3232362"/>
                <a:ext cx="378767" cy="2058550"/>
              </a:xfrm>
              <a:custGeom>
                <a:avLst/>
                <a:gdLst/>
                <a:ahLst/>
                <a:cxnLst/>
                <a:rect l="l" t="t" r="r" b="b"/>
                <a:pathLst>
                  <a:path w="378767" h="2058550">
                    <a:moveTo>
                      <a:pt x="378767" y="0"/>
                    </a:moveTo>
                    <a:lnTo>
                      <a:pt x="221834" y="2058550"/>
                    </a:lnTo>
                    <a:cubicBezTo>
                      <a:pt x="131841" y="2048309"/>
                      <a:pt x="54775" y="2028807"/>
                      <a:pt x="0" y="1999947"/>
                    </a:cubicBezTo>
                    <a:lnTo>
                      <a:pt x="259148" y="285117"/>
                    </a:lnTo>
                    <a:lnTo>
                      <a:pt x="319782" y="7894"/>
                    </a:lnTo>
                    <a:cubicBezTo>
                      <a:pt x="339721" y="3135"/>
                      <a:pt x="359328" y="443"/>
                      <a:pt x="378767" y="0"/>
                    </a:cubicBez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83" name="Isosceles Triangle 35"/>
              <p:cNvSpPr/>
              <p:nvPr/>
            </p:nvSpPr>
            <p:spPr>
              <a:xfrm>
                <a:off x="3081496" y="3232259"/>
                <a:ext cx="153711" cy="2068782"/>
              </a:xfrm>
              <a:custGeom>
                <a:avLst/>
                <a:gdLst/>
                <a:ahLst/>
                <a:cxnLst/>
                <a:rect l="l" t="t" r="r" b="b"/>
                <a:pathLst>
                  <a:path w="153711" h="2068782">
                    <a:moveTo>
                      <a:pt x="117624" y="0"/>
                    </a:moveTo>
                    <a:lnTo>
                      <a:pt x="153711" y="2067454"/>
                    </a:lnTo>
                    <a:cubicBezTo>
                      <a:pt x="138761" y="2068584"/>
                      <a:pt x="123595" y="2068782"/>
                      <a:pt x="108264" y="2068782"/>
                    </a:cubicBezTo>
                    <a:cubicBezTo>
                      <a:pt x="71048" y="2068782"/>
                      <a:pt x="34806" y="2067612"/>
                      <a:pt x="0" y="2064968"/>
                    </a:cubicBezTo>
                    <a:lnTo>
                      <a:pt x="100882" y="62"/>
                    </a:ln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grpSp>
        <p:sp>
          <p:nvSpPr>
            <p:cNvPr id="176" name="TextBox 175"/>
            <p:cNvSpPr txBox="1"/>
            <p:nvPr/>
          </p:nvSpPr>
          <p:spPr>
            <a:xfrm>
              <a:off x="593352" y="4340601"/>
              <a:ext cx="545333" cy="338554"/>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Oct/Nov-17</a:t>
              </a:r>
              <a:endParaRPr kumimoji="0" lang="en-US" sz="800" b="0" i="0" u="none" strike="noStrike" kern="0" cap="none" spc="0" normalizeH="0" baseline="0" noProof="0" dirty="0">
                <a:ln>
                  <a:noFill/>
                </a:ln>
                <a:solidFill>
                  <a:sysClr val="windowText" lastClr="000000"/>
                </a:solidFill>
                <a:effectLst/>
                <a:uLnTx/>
                <a:uFillTx/>
                <a:latin typeface="Calibri" pitchFamily="34" charset="0"/>
              </a:endParaRPr>
            </a:p>
          </p:txBody>
        </p:sp>
      </p:grpSp>
      <p:grpSp>
        <p:nvGrpSpPr>
          <p:cNvPr id="184" name="Group 183"/>
          <p:cNvGrpSpPr/>
          <p:nvPr/>
        </p:nvGrpSpPr>
        <p:grpSpPr>
          <a:xfrm>
            <a:off x="8270941" y="3702616"/>
            <a:ext cx="694944" cy="674159"/>
            <a:chOff x="551666" y="3881886"/>
            <a:chExt cx="694944" cy="674159"/>
          </a:xfrm>
        </p:grpSpPr>
        <p:grpSp>
          <p:nvGrpSpPr>
            <p:cNvPr id="185" name="Group 103"/>
            <p:cNvGrpSpPr>
              <a:grpSpLocks noChangeAspect="1"/>
            </p:cNvGrpSpPr>
            <p:nvPr/>
          </p:nvGrpSpPr>
          <p:grpSpPr>
            <a:xfrm>
              <a:off x="646980" y="3881886"/>
              <a:ext cx="353684" cy="414067"/>
              <a:chOff x="2526619" y="3231420"/>
              <a:chExt cx="1325880" cy="2447151"/>
            </a:xfrm>
          </p:grpSpPr>
          <p:sp>
            <p:nvSpPr>
              <p:cNvPr id="187" name="Rounded Rectangle 186"/>
              <p:cNvSpPr/>
              <p:nvPr/>
            </p:nvSpPr>
            <p:spPr>
              <a:xfrm>
                <a:off x="2526619" y="4539657"/>
                <a:ext cx="1325880" cy="1138914"/>
              </a:xfrm>
              <a:prstGeom prst="roundRect">
                <a:avLst>
                  <a:gd name="adj" fmla="val 5138"/>
                </a:avLst>
              </a:prstGeom>
              <a:solidFill>
                <a:srgbClr val="C11D07"/>
              </a:solidFill>
              <a:ln w="25400" cap="flat" cmpd="sng" algn="ctr">
                <a:noFill/>
                <a:prstDash val="solid"/>
              </a:ln>
              <a:effectLst>
                <a:outerShdw blurRad="317500" dist="38100" dir="5400000" algn="t" rotWithShape="0">
                  <a:prstClr val="black">
                    <a:alpha val="65000"/>
                  </a:prstClr>
                </a:outerShdw>
              </a:effectLst>
              <a:scene3d>
                <a:camera prst="perspectiveRelaxed" fov="7200000">
                  <a:rot lat="17673596" lon="0" rev="0"/>
                </a:camera>
                <a:lightRig rig="threePt" dir="t">
                  <a:rot lat="0" lon="0" rev="10200000"/>
                </a:lightRig>
              </a:scene3d>
              <a:sp3d extrusionH="38100" prstMaterial="plastic">
                <a:bevelT w="50800" h="508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88" name="Isosceles Triangle 35"/>
              <p:cNvSpPr/>
              <p:nvPr/>
            </p:nvSpPr>
            <p:spPr>
              <a:xfrm>
                <a:off x="2701879" y="3231420"/>
                <a:ext cx="975360" cy="2069621"/>
              </a:xfrm>
              <a:custGeom>
                <a:avLst/>
                <a:gdLst>
                  <a:gd name="connsiteX0" fmla="*/ 509840 w 975360"/>
                  <a:gd name="connsiteY0" fmla="*/ 792 h 2069621"/>
                  <a:gd name="connsiteX1" fmla="*/ 563039 w 975360"/>
                  <a:gd name="connsiteY1" fmla="*/ 10265 h 2069621"/>
                  <a:gd name="connsiteX2" fmla="*/ 975360 w 975360"/>
                  <a:gd name="connsiteY2" fmla="*/ 1885811 h 2069621"/>
                  <a:gd name="connsiteX3" fmla="*/ 487880 w 975360"/>
                  <a:gd name="connsiteY3" fmla="*/ 2069621 h 2069621"/>
                  <a:gd name="connsiteX4" fmla="*/ 400 w 975360"/>
                  <a:gd name="connsiteY4" fmla="*/ 1885811 h 2069621"/>
                  <a:gd name="connsiteX5" fmla="*/ 447 w 975360"/>
                  <a:gd name="connsiteY5" fmla="*/ 1885602 h 2069621"/>
                  <a:gd name="connsiteX6" fmla="*/ 0 w 975360"/>
                  <a:gd name="connsiteY6" fmla="*/ 1885602 h 2069621"/>
                  <a:gd name="connsiteX7" fmla="*/ 410486 w 975360"/>
                  <a:gd name="connsiteY7" fmla="*/ 8836 h 2069621"/>
                  <a:gd name="connsiteX8" fmla="*/ 509840 w 975360"/>
                  <a:gd name="connsiteY8" fmla="*/ 792 h 20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360" h="2069621">
                    <a:moveTo>
                      <a:pt x="509840" y="792"/>
                    </a:moveTo>
                    <a:cubicBezTo>
                      <a:pt x="527756" y="1978"/>
                      <a:pt x="545585" y="4458"/>
                      <a:pt x="563039" y="10265"/>
                    </a:cubicBezTo>
                    <a:lnTo>
                      <a:pt x="975360" y="1885811"/>
                    </a:lnTo>
                    <a:cubicBezTo>
                      <a:pt x="975360" y="2008368"/>
                      <a:pt x="757108" y="2069621"/>
                      <a:pt x="487880" y="2069621"/>
                    </a:cubicBezTo>
                    <a:cubicBezTo>
                      <a:pt x="218652" y="2069621"/>
                      <a:pt x="400" y="2008368"/>
                      <a:pt x="400" y="1885811"/>
                    </a:cubicBezTo>
                    <a:cubicBezTo>
                      <a:pt x="416" y="1885741"/>
                      <a:pt x="431" y="1885671"/>
                      <a:pt x="447" y="1885602"/>
                    </a:cubicBezTo>
                    <a:lnTo>
                      <a:pt x="0" y="1885602"/>
                    </a:lnTo>
                    <a:lnTo>
                      <a:pt x="410486" y="8836"/>
                    </a:lnTo>
                    <a:cubicBezTo>
                      <a:pt x="444336" y="757"/>
                      <a:pt x="477232" y="-1367"/>
                      <a:pt x="509840" y="792"/>
                    </a:cubicBezTo>
                    <a:close/>
                  </a:path>
                </a:pathLst>
              </a:custGeom>
              <a:gradFill>
                <a:gsLst>
                  <a:gs pos="0">
                    <a:srgbClr val="F82306"/>
                  </a:gs>
                  <a:gs pos="100000">
                    <a:srgbClr val="A01704"/>
                  </a:gs>
                  <a:gs pos="40000">
                    <a:srgbClr val="F83B22"/>
                  </a:gs>
                </a:gsLst>
                <a:lin ang="240000" scaled="0"/>
              </a:gradFill>
              <a:ln w="25400" cap="flat" cmpd="sng" algn="ctr">
                <a:noFill/>
                <a:prstDash val="solid"/>
              </a:ln>
              <a:effectLst>
                <a:innerShdw blurRad="317500" dist="50800" dir="3000000">
                  <a:prstClr val="black">
                    <a:alpha val="3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89" name="Isosceles Triangle 35"/>
              <p:cNvSpPr/>
              <p:nvPr/>
            </p:nvSpPr>
            <p:spPr>
              <a:xfrm>
                <a:off x="2753496" y="4525954"/>
                <a:ext cx="860697" cy="384360"/>
              </a:xfrm>
              <a:custGeom>
                <a:avLst/>
                <a:gdLst/>
                <a:ahLst/>
                <a:cxnLst/>
                <a:rect l="l" t="t" r="r" b="b"/>
                <a:pathLst>
                  <a:path w="860697" h="384360">
                    <a:moveTo>
                      <a:pt x="70995" y="0"/>
                    </a:moveTo>
                    <a:cubicBezTo>
                      <a:pt x="181101" y="30977"/>
                      <a:pt x="302713" y="47879"/>
                      <a:pt x="430508" y="47879"/>
                    </a:cubicBezTo>
                    <a:cubicBezTo>
                      <a:pt x="558047" y="47879"/>
                      <a:pt x="679426" y="31045"/>
                      <a:pt x="789368" y="226"/>
                    </a:cubicBezTo>
                    <a:lnTo>
                      <a:pt x="860697" y="324684"/>
                    </a:lnTo>
                    <a:cubicBezTo>
                      <a:pt x="727135" y="363624"/>
                      <a:pt x="582050" y="384360"/>
                      <a:pt x="430508" y="384360"/>
                    </a:cubicBezTo>
                    <a:cubicBezTo>
                      <a:pt x="278845" y="384360"/>
                      <a:pt x="133651" y="363591"/>
                      <a:pt x="0" y="324596"/>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90" name="Isosceles Triangle 35"/>
              <p:cNvSpPr/>
              <p:nvPr/>
            </p:nvSpPr>
            <p:spPr>
              <a:xfrm>
                <a:off x="2882253" y="3951642"/>
                <a:ext cx="603182" cy="353398"/>
              </a:xfrm>
              <a:custGeom>
                <a:avLst/>
                <a:gdLst/>
                <a:ahLst/>
                <a:cxnLst/>
                <a:rect l="l" t="t" r="r" b="b"/>
                <a:pathLst>
                  <a:path w="603182" h="353398">
                    <a:moveTo>
                      <a:pt x="68157" y="0"/>
                    </a:moveTo>
                    <a:cubicBezTo>
                      <a:pt x="141180" y="21147"/>
                      <a:pt x="220051" y="31240"/>
                      <a:pt x="302056" y="31240"/>
                    </a:cubicBezTo>
                    <a:cubicBezTo>
                      <a:pt x="383587" y="31240"/>
                      <a:pt x="462020" y="21263"/>
                      <a:pt x="534675" y="299"/>
                    </a:cubicBezTo>
                    <a:lnTo>
                      <a:pt x="603182" y="311919"/>
                    </a:lnTo>
                    <a:cubicBezTo>
                      <a:pt x="508278" y="338955"/>
                      <a:pt x="407075" y="353398"/>
                      <a:pt x="302056" y="353398"/>
                    </a:cubicBezTo>
                    <a:cubicBezTo>
                      <a:pt x="196690" y="353398"/>
                      <a:pt x="95166" y="338859"/>
                      <a:pt x="0" y="311618"/>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91" name="Isosceles Triangle 35"/>
              <p:cNvSpPr/>
              <p:nvPr/>
            </p:nvSpPr>
            <p:spPr>
              <a:xfrm>
                <a:off x="3006985" y="3432205"/>
                <a:ext cx="353718" cy="280374"/>
              </a:xfrm>
              <a:custGeom>
                <a:avLst/>
                <a:gdLst/>
                <a:ahLst/>
                <a:cxnLst/>
                <a:rect l="l" t="t" r="r" b="b"/>
                <a:pathLst>
                  <a:path w="353718" h="280374">
                    <a:moveTo>
                      <a:pt x="56505" y="0"/>
                    </a:moveTo>
                    <a:cubicBezTo>
                      <a:pt x="95458" y="7520"/>
                      <a:pt x="136018" y="11189"/>
                      <a:pt x="177626" y="11189"/>
                    </a:cubicBezTo>
                    <a:cubicBezTo>
                      <a:pt x="218579" y="11189"/>
                      <a:pt x="258515" y="7635"/>
                      <a:pt x="296925" y="462"/>
                    </a:cubicBezTo>
                    <a:lnTo>
                      <a:pt x="353718" y="258800"/>
                    </a:lnTo>
                    <a:cubicBezTo>
                      <a:pt x="297487" y="273547"/>
                      <a:pt x="238387" y="280374"/>
                      <a:pt x="177626" y="280374"/>
                    </a:cubicBezTo>
                    <a:cubicBezTo>
                      <a:pt x="116307" y="280374"/>
                      <a:pt x="56679" y="273421"/>
                      <a:pt x="0" y="258343"/>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92" name="Isosceles Triangle 35"/>
              <p:cNvSpPr/>
              <p:nvPr/>
            </p:nvSpPr>
            <p:spPr>
              <a:xfrm>
                <a:off x="2792584" y="3232362"/>
                <a:ext cx="378767" cy="2058550"/>
              </a:xfrm>
              <a:custGeom>
                <a:avLst/>
                <a:gdLst/>
                <a:ahLst/>
                <a:cxnLst/>
                <a:rect l="l" t="t" r="r" b="b"/>
                <a:pathLst>
                  <a:path w="378767" h="2058550">
                    <a:moveTo>
                      <a:pt x="378767" y="0"/>
                    </a:moveTo>
                    <a:lnTo>
                      <a:pt x="221834" y="2058550"/>
                    </a:lnTo>
                    <a:cubicBezTo>
                      <a:pt x="131841" y="2048309"/>
                      <a:pt x="54775" y="2028807"/>
                      <a:pt x="0" y="1999947"/>
                    </a:cubicBezTo>
                    <a:lnTo>
                      <a:pt x="259148" y="285117"/>
                    </a:lnTo>
                    <a:lnTo>
                      <a:pt x="319782" y="7894"/>
                    </a:lnTo>
                    <a:cubicBezTo>
                      <a:pt x="339721" y="3135"/>
                      <a:pt x="359328" y="443"/>
                      <a:pt x="378767" y="0"/>
                    </a:cubicBez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sp>
            <p:nvSpPr>
              <p:cNvPr id="193" name="Isosceles Triangle 35"/>
              <p:cNvSpPr/>
              <p:nvPr/>
            </p:nvSpPr>
            <p:spPr>
              <a:xfrm>
                <a:off x="3081496" y="3232259"/>
                <a:ext cx="153711" cy="2068782"/>
              </a:xfrm>
              <a:custGeom>
                <a:avLst/>
                <a:gdLst/>
                <a:ahLst/>
                <a:cxnLst/>
                <a:rect l="l" t="t" r="r" b="b"/>
                <a:pathLst>
                  <a:path w="153711" h="2068782">
                    <a:moveTo>
                      <a:pt x="117624" y="0"/>
                    </a:moveTo>
                    <a:lnTo>
                      <a:pt x="153711" y="2067454"/>
                    </a:lnTo>
                    <a:cubicBezTo>
                      <a:pt x="138761" y="2068584"/>
                      <a:pt x="123595" y="2068782"/>
                      <a:pt x="108264" y="2068782"/>
                    </a:cubicBezTo>
                    <a:cubicBezTo>
                      <a:pt x="71048" y="2068782"/>
                      <a:pt x="34806" y="2067612"/>
                      <a:pt x="0" y="2064968"/>
                    </a:cubicBezTo>
                    <a:lnTo>
                      <a:pt x="100882" y="62"/>
                    </a:ln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itchFamily="34" charset="0"/>
                </a:endParaRPr>
              </a:p>
            </p:txBody>
          </p:sp>
        </p:grpSp>
        <p:sp>
          <p:nvSpPr>
            <p:cNvPr id="186" name="TextBox 185"/>
            <p:cNvSpPr txBox="1"/>
            <p:nvPr/>
          </p:nvSpPr>
          <p:spPr>
            <a:xfrm>
              <a:off x="551666" y="4340601"/>
              <a:ext cx="694944" cy="215444"/>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Nov/Dec-17</a:t>
              </a:r>
              <a:endParaRPr kumimoji="0" lang="en-US" sz="800" b="0" i="0" u="none" strike="noStrike" kern="0" cap="none" spc="0" normalizeH="0" baseline="0" noProof="0" dirty="0">
                <a:ln>
                  <a:noFill/>
                </a:ln>
                <a:solidFill>
                  <a:sysClr val="windowText" lastClr="000000"/>
                </a:solidFill>
                <a:effectLst/>
                <a:uLnTx/>
                <a:uFillTx/>
                <a:latin typeface="Calibri" pitchFamily="34" charset="0"/>
              </a:endParaRPr>
            </a:p>
          </p:txBody>
        </p:sp>
      </p:grpSp>
      <p:grpSp>
        <p:nvGrpSpPr>
          <p:cNvPr id="195" name="Group 194"/>
          <p:cNvGrpSpPr/>
          <p:nvPr/>
        </p:nvGrpSpPr>
        <p:grpSpPr>
          <a:xfrm>
            <a:off x="8857753" y="3315704"/>
            <a:ext cx="809321" cy="319744"/>
            <a:chOff x="2214202" y="2374902"/>
            <a:chExt cx="4621496" cy="1739898"/>
          </a:xfrm>
        </p:grpSpPr>
        <p:sp>
          <p:nvSpPr>
            <p:cNvPr id="196" name="Oval 195"/>
            <p:cNvSpPr/>
            <p:nvPr/>
          </p:nvSpPr>
          <p:spPr>
            <a:xfrm>
              <a:off x="5817692" y="2374902"/>
              <a:ext cx="1018006" cy="1739898"/>
            </a:xfrm>
            <a:prstGeom prst="ellipse">
              <a:avLst/>
            </a:prstGeom>
            <a:solidFill>
              <a:sysClr val="window" lastClr="FFFFFF">
                <a:lumMod val="7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7" name="Oval 196"/>
            <p:cNvSpPr/>
            <p:nvPr/>
          </p:nvSpPr>
          <p:spPr>
            <a:xfrm>
              <a:off x="5915578" y="2473516"/>
              <a:ext cx="822235" cy="1542670"/>
            </a:xfrm>
            <a:prstGeom prst="ellipse">
              <a:avLst/>
            </a:prstGeom>
            <a:gradFill flip="none" rotWithShape="1">
              <a:gsLst>
                <a:gs pos="0">
                  <a:sysClr val="windowText" lastClr="000000">
                    <a:lumMod val="85000"/>
                    <a:lumOff val="15000"/>
                  </a:sysClr>
                </a:gs>
                <a:gs pos="100000">
                  <a:sysClr val="windowText" lastClr="000000">
                    <a:lumMod val="50000"/>
                    <a:lumOff val="50000"/>
                  </a:sysClr>
                </a:gs>
              </a:gsLst>
              <a:lin ang="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8" name="Oval 11"/>
            <p:cNvSpPr/>
            <p:nvPr/>
          </p:nvSpPr>
          <p:spPr>
            <a:xfrm>
              <a:off x="5094249" y="2374902"/>
              <a:ext cx="1243597" cy="1739898"/>
            </a:xfrm>
            <a:custGeom>
              <a:avLst/>
              <a:gdLst/>
              <a:ahLst/>
              <a:cxnLst/>
              <a:rect l="l" t="t" r="r" b="b"/>
              <a:pathLst>
                <a:path w="1452142" h="2031670">
                  <a:moveTo>
                    <a:pt x="594360" y="0"/>
                  </a:moveTo>
                  <a:lnTo>
                    <a:pt x="1452142" y="0"/>
                  </a:lnTo>
                  <a:cubicBezTo>
                    <a:pt x="1123886" y="0"/>
                    <a:pt x="857782" y="454805"/>
                    <a:pt x="857782" y="1015835"/>
                  </a:cubicBezTo>
                  <a:cubicBezTo>
                    <a:pt x="857782" y="1576865"/>
                    <a:pt x="1123886" y="2031670"/>
                    <a:pt x="1452142" y="2031670"/>
                  </a:cubicBezTo>
                  <a:lnTo>
                    <a:pt x="594360" y="2031670"/>
                  </a:lnTo>
                  <a:cubicBezTo>
                    <a:pt x="266104" y="2031670"/>
                    <a:pt x="0" y="1576865"/>
                    <a:pt x="0" y="1015835"/>
                  </a:cubicBezTo>
                  <a:cubicBezTo>
                    <a:pt x="0" y="454805"/>
                    <a:pt x="266104" y="0"/>
                    <a:pt x="594360" y="0"/>
                  </a:cubicBezTo>
                  <a:close/>
                </a:path>
              </a:pathLst>
            </a:custGeom>
            <a:gradFill flip="none" rotWithShape="1">
              <a:gsLst>
                <a:gs pos="0">
                  <a:sysClr val="window" lastClr="FFFFFF">
                    <a:lumMod val="50000"/>
                  </a:sysClr>
                </a:gs>
                <a:gs pos="100000">
                  <a:sysClr val="window" lastClr="FFFFFF">
                    <a:lumMod val="90000"/>
                  </a:sysClr>
                </a:gs>
              </a:gsLst>
              <a:lin ang="162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9" name="Oval 11"/>
            <p:cNvSpPr/>
            <p:nvPr/>
          </p:nvSpPr>
          <p:spPr>
            <a:xfrm>
              <a:off x="4381928" y="2374902"/>
              <a:ext cx="1243597" cy="1739898"/>
            </a:xfrm>
            <a:custGeom>
              <a:avLst/>
              <a:gdLst/>
              <a:ahLst/>
              <a:cxnLst/>
              <a:rect l="l" t="t" r="r" b="b"/>
              <a:pathLst>
                <a:path w="1452142" h="2031670">
                  <a:moveTo>
                    <a:pt x="594360" y="0"/>
                  </a:moveTo>
                  <a:lnTo>
                    <a:pt x="1452142" y="0"/>
                  </a:lnTo>
                  <a:cubicBezTo>
                    <a:pt x="1123886" y="0"/>
                    <a:pt x="857782" y="454805"/>
                    <a:pt x="857782" y="1015835"/>
                  </a:cubicBezTo>
                  <a:cubicBezTo>
                    <a:pt x="857782" y="1576865"/>
                    <a:pt x="1123886" y="2031670"/>
                    <a:pt x="1452142" y="2031670"/>
                  </a:cubicBezTo>
                  <a:lnTo>
                    <a:pt x="594360" y="2031670"/>
                  </a:lnTo>
                  <a:cubicBezTo>
                    <a:pt x="266104" y="2031670"/>
                    <a:pt x="0" y="1576865"/>
                    <a:pt x="0" y="1015835"/>
                  </a:cubicBezTo>
                  <a:cubicBezTo>
                    <a:pt x="0" y="454805"/>
                    <a:pt x="266104" y="0"/>
                    <a:pt x="594360" y="0"/>
                  </a:cubicBezTo>
                  <a:close/>
                </a:path>
              </a:pathLst>
            </a:custGeom>
            <a:gradFill flip="none" rotWithShape="1">
              <a:gsLst>
                <a:gs pos="0">
                  <a:sysClr val="window" lastClr="FFFFFF">
                    <a:lumMod val="50000"/>
                  </a:sysClr>
                </a:gs>
                <a:gs pos="100000">
                  <a:sysClr val="window" lastClr="FFFFFF">
                    <a:lumMod val="90000"/>
                  </a:sysClr>
                </a:gs>
              </a:gsLst>
              <a:lin ang="16200000" scaled="1"/>
              <a:tileRect/>
            </a:gradFill>
            <a:ln w="9525" cap="flat" cmpd="sng" algn="ctr">
              <a:noFill/>
              <a:prstDash val="solid"/>
            </a:ln>
            <a:effectLst/>
          </p:spPr>
          <p:txBody>
            <a:bodyPr rtlCol="0" anchor="ctr"/>
            <a:lstStyle/>
            <a:p>
              <a:pPr algn="ctr"/>
              <a:endParaRPr lang="en-US" kern="0">
                <a:solidFill>
                  <a:sysClr val="windowText" lastClr="000000"/>
                </a:solidFill>
                <a:latin typeface="Calibri"/>
              </a:endParaRPr>
            </a:p>
          </p:txBody>
        </p:sp>
        <p:sp>
          <p:nvSpPr>
            <p:cNvPr id="200" name="Oval 11"/>
            <p:cNvSpPr/>
            <p:nvPr/>
          </p:nvSpPr>
          <p:spPr>
            <a:xfrm>
              <a:off x="3657007" y="2374902"/>
              <a:ext cx="1243597" cy="1739898"/>
            </a:xfrm>
            <a:custGeom>
              <a:avLst/>
              <a:gdLst/>
              <a:ahLst/>
              <a:cxnLst/>
              <a:rect l="l" t="t" r="r" b="b"/>
              <a:pathLst>
                <a:path w="1452142" h="2031670">
                  <a:moveTo>
                    <a:pt x="594360" y="0"/>
                  </a:moveTo>
                  <a:lnTo>
                    <a:pt x="1452142" y="0"/>
                  </a:lnTo>
                  <a:cubicBezTo>
                    <a:pt x="1123886" y="0"/>
                    <a:pt x="857782" y="454805"/>
                    <a:pt x="857782" y="1015835"/>
                  </a:cubicBezTo>
                  <a:cubicBezTo>
                    <a:pt x="857782" y="1576865"/>
                    <a:pt x="1123886" y="2031670"/>
                    <a:pt x="1452142" y="2031670"/>
                  </a:cubicBezTo>
                  <a:lnTo>
                    <a:pt x="594360" y="2031670"/>
                  </a:lnTo>
                  <a:cubicBezTo>
                    <a:pt x="266104" y="2031670"/>
                    <a:pt x="0" y="1576865"/>
                    <a:pt x="0" y="1015835"/>
                  </a:cubicBezTo>
                  <a:cubicBezTo>
                    <a:pt x="0" y="454805"/>
                    <a:pt x="266104" y="0"/>
                    <a:pt x="594360" y="0"/>
                  </a:cubicBezTo>
                  <a:close/>
                </a:path>
              </a:pathLst>
            </a:custGeom>
            <a:gradFill flip="none" rotWithShape="1">
              <a:gsLst>
                <a:gs pos="0">
                  <a:sysClr val="window" lastClr="FFFFFF">
                    <a:lumMod val="50000"/>
                  </a:sysClr>
                </a:gs>
                <a:gs pos="100000">
                  <a:sysClr val="window" lastClr="FFFFFF">
                    <a:lumMod val="90000"/>
                  </a:sysClr>
                </a:gs>
              </a:gsLst>
              <a:lin ang="16200000" scaled="1"/>
              <a:tileRect/>
            </a:gradFill>
            <a:ln w="9525" cap="flat" cmpd="sng" algn="ctr">
              <a:noFill/>
              <a:prstDash val="solid"/>
            </a:ln>
            <a:effectLst/>
          </p:spPr>
          <p:txBody>
            <a:bodyPr rtlCol="0" anchor="ctr"/>
            <a:lstStyle/>
            <a:p>
              <a:pPr algn="ctr"/>
              <a:endParaRPr lang="en-US" kern="0">
                <a:solidFill>
                  <a:sysClr val="windowText" lastClr="000000"/>
                </a:solidFill>
                <a:latin typeface="Calibri"/>
              </a:endParaRPr>
            </a:p>
          </p:txBody>
        </p:sp>
        <p:sp>
          <p:nvSpPr>
            <p:cNvPr id="201" name="Oval 11"/>
            <p:cNvSpPr/>
            <p:nvPr/>
          </p:nvSpPr>
          <p:spPr>
            <a:xfrm>
              <a:off x="2935455" y="2374902"/>
              <a:ext cx="1243597" cy="1739898"/>
            </a:xfrm>
            <a:custGeom>
              <a:avLst/>
              <a:gdLst/>
              <a:ahLst/>
              <a:cxnLst/>
              <a:rect l="l" t="t" r="r" b="b"/>
              <a:pathLst>
                <a:path w="1452142" h="2031670">
                  <a:moveTo>
                    <a:pt x="594360" y="0"/>
                  </a:moveTo>
                  <a:lnTo>
                    <a:pt x="1452142" y="0"/>
                  </a:lnTo>
                  <a:cubicBezTo>
                    <a:pt x="1123886" y="0"/>
                    <a:pt x="857782" y="454805"/>
                    <a:pt x="857782" y="1015835"/>
                  </a:cubicBezTo>
                  <a:cubicBezTo>
                    <a:pt x="857782" y="1576865"/>
                    <a:pt x="1123886" y="2031670"/>
                    <a:pt x="1452142" y="2031670"/>
                  </a:cubicBezTo>
                  <a:lnTo>
                    <a:pt x="594360" y="2031670"/>
                  </a:lnTo>
                  <a:cubicBezTo>
                    <a:pt x="266104" y="2031670"/>
                    <a:pt x="0" y="1576865"/>
                    <a:pt x="0" y="1015835"/>
                  </a:cubicBezTo>
                  <a:cubicBezTo>
                    <a:pt x="0" y="454805"/>
                    <a:pt x="266104" y="0"/>
                    <a:pt x="594360" y="0"/>
                  </a:cubicBezTo>
                  <a:close/>
                </a:path>
              </a:pathLst>
            </a:custGeom>
            <a:gradFill flip="none" rotWithShape="1">
              <a:gsLst>
                <a:gs pos="0">
                  <a:sysClr val="window" lastClr="FFFFFF">
                    <a:lumMod val="50000"/>
                  </a:sysClr>
                </a:gs>
                <a:gs pos="100000">
                  <a:sysClr val="window" lastClr="FFFFFF">
                    <a:lumMod val="90000"/>
                  </a:sysClr>
                </a:gs>
              </a:gsLst>
              <a:lin ang="16200000" scaled="1"/>
              <a:tileRect/>
            </a:gradFill>
            <a:ln w="9525" cap="flat" cmpd="sng" algn="ctr">
              <a:noFill/>
              <a:prstDash val="solid"/>
            </a:ln>
            <a:effectLst/>
          </p:spPr>
          <p:txBody>
            <a:bodyPr rtlCol="0" anchor="ctr"/>
            <a:lstStyle/>
            <a:p>
              <a:pPr algn="ctr"/>
              <a:endParaRPr lang="en-US" kern="0">
                <a:solidFill>
                  <a:sysClr val="windowText" lastClr="000000"/>
                </a:solidFill>
                <a:latin typeface="Calibri"/>
              </a:endParaRPr>
            </a:p>
          </p:txBody>
        </p:sp>
        <p:sp>
          <p:nvSpPr>
            <p:cNvPr id="202" name="Oval 11"/>
            <p:cNvSpPr/>
            <p:nvPr/>
          </p:nvSpPr>
          <p:spPr>
            <a:xfrm>
              <a:off x="2214202" y="2374902"/>
              <a:ext cx="1243597" cy="1739898"/>
            </a:xfrm>
            <a:custGeom>
              <a:avLst/>
              <a:gdLst/>
              <a:ahLst/>
              <a:cxnLst/>
              <a:rect l="l" t="t" r="r" b="b"/>
              <a:pathLst>
                <a:path w="1452142" h="2031670">
                  <a:moveTo>
                    <a:pt x="594360" y="0"/>
                  </a:moveTo>
                  <a:lnTo>
                    <a:pt x="1452142" y="0"/>
                  </a:lnTo>
                  <a:cubicBezTo>
                    <a:pt x="1123886" y="0"/>
                    <a:pt x="857782" y="454805"/>
                    <a:pt x="857782" y="1015835"/>
                  </a:cubicBezTo>
                  <a:cubicBezTo>
                    <a:pt x="857782" y="1576865"/>
                    <a:pt x="1123886" y="2031670"/>
                    <a:pt x="1452142" y="2031670"/>
                  </a:cubicBezTo>
                  <a:lnTo>
                    <a:pt x="594360" y="2031670"/>
                  </a:lnTo>
                  <a:cubicBezTo>
                    <a:pt x="266104" y="2031670"/>
                    <a:pt x="0" y="1576865"/>
                    <a:pt x="0" y="1015835"/>
                  </a:cubicBezTo>
                  <a:cubicBezTo>
                    <a:pt x="0" y="454805"/>
                    <a:pt x="266104" y="0"/>
                    <a:pt x="594360" y="0"/>
                  </a:cubicBezTo>
                  <a:close/>
                </a:path>
              </a:pathLst>
            </a:custGeom>
            <a:gradFill flip="none" rotWithShape="1">
              <a:gsLst>
                <a:gs pos="0">
                  <a:sysClr val="window" lastClr="FFFFFF">
                    <a:lumMod val="50000"/>
                  </a:sysClr>
                </a:gs>
                <a:gs pos="100000">
                  <a:sysClr val="window" lastClr="FFFFFF">
                    <a:lumMod val="90000"/>
                  </a:sysClr>
                </a:gs>
              </a:gsLst>
              <a:lin ang="16200000" scaled="1"/>
              <a:tileRect/>
            </a:gradFill>
            <a:ln w="9525" cap="flat" cmpd="sng" algn="ctr">
              <a:noFill/>
              <a:prstDash val="solid"/>
            </a:ln>
            <a:effectLst/>
          </p:spPr>
          <p:txBody>
            <a:bodyPr rtlCol="0" anchor="ctr"/>
            <a:lstStyle/>
            <a:p>
              <a:pPr algn="ctr"/>
              <a:endParaRPr lang="en-US" kern="0">
                <a:solidFill>
                  <a:sysClr val="windowText" lastClr="000000"/>
                </a:solidFill>
                <a:latin typeface="Calibri"/>
              </a:endParaRPr>
            </a:p>
          </p:txBody>
        </p:sp>
      </p:grpSp>
      <p:sp>
        <p:nvSpPr>
          <p:cNvPr id="203" name="TextBox 202"/>
          <p:cNvSpPr txBox="1"/>
          <p:nvPr/>
        </p:nvSpPr>
        <p:spPr>
          <a:xfrm>
            <a:off x="8780189" y="3607200"/>
            <a:ext cx="1176068" cy="584775"/>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Identify Next Set of Application and keep developing the Automation solution </a:t>
            </a:r>
            <a:endParaRPr kumimoji="0" lang="en-US" sz="800" b="0" i="0" u="none" strike="noStrike" kern="0" cap="none" spc="0" normalizeH="0" baseline="0" noProof="0" dirty="0">
              <a:ln>
                <a:noFill/>
              </a:ln>
              <a:solidFill>
                <a:sysClr val="windowText" lastClr="000000"/>
              </a:solidFill>
              <a:effectLst/>
              <a:uLnTx/>
              <a:uFillTx/>
              <a:latin typeface="Calibri" pitchFamily="34" charset="0"/>
            </a:endParaRPr>
          </a:p>
        </p:txBody>
      </p:sp>
      <p:grpSp>
        <p:nvGrpSpPr>
          <p:cNvPr id="238" name="Group 237"/>
          <p:cNvGrpSpPr/>
          <p:nvPr/>
        </p:nvGrpSpPr>
        <p:grpSpPr>
          <a:xfrm>
            <a:off x="0" y="3332790"/>
            <a:ext cx="612476" cy="465827"/>
            <a:chOff x="174458" y="3274753"/>
            <a:chExt cx="2416342" cy="1525847"/>
          </a:xfrm>
        </p:grpSpPr>
        <p:grpSp>
          <p:nvGrpSpPr>
            <p:cNvPr id="239" name="Group 66"/>
            <p:cNvGrpSpPr/>
            <p:nvPr/>
          </p:nvGrpSpPr>
          <p:grpSpPr>
            <a:xfrm>
              <a:off x="174458" y="3519218"/>
              <a:ext cx="950633" cy="928947"/>
              <a:chOff x="400806" y="2980881"/>
              <a:chExt cx="1187060" cy="1159980"/>
            </a:xfrm>
          </p:grpSpPr>
          <p:sp>
            <p:nvSpPr>
              <p:cNvPr id="254" name="Oval 253"/>
              <p:cNvSpPr/>
              <p:nvPr/>
            </p:nvSpPr>
            <p:spPr>
              <a:xfrm>
                <a:off x="400806" y="3607461"/>
                <a:ext cx="1187060" cy="533400"/>
              </a:xfrm>
              <a:prstGeom prst="ellipse">
                <a:avLst/>
              </a:prstGeom>
              <a:gradFill flip="none" rotWithShape="1">
                <a:gsLst>
                  <a:gs pos="0">
                    <a:sysClr val="windowText" lastClr="000000">
                      <a:lumMod val="50000"/>
                      <a:lumOff val="50000"/>
                      <a:alpha val="70000"/>
                    </a:sysClr>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grpSp>
            <p:nvGrpSpPr>
              <p:cNvPr id="255" name="Group 68"/>
              <p:cNvGrpSpPr/>
              <p:nvPr/>
            </p:nvGrpSpPr>
            <p:grpSpPr>
              <a:xfrm>
                <a:off x="540872" y="2980881"/>
                <a:ext cx="906928" cy="906928"/>
                <a:chOff x="345837" y="3414157"/>
                <a:chExt cx="1120140" cy="1120140"/>
              </a:xfrm>
            </p:grpSpPr>
            <p:sp>
              <p:nvSpPr>
                <p:cNvPr id="256" name="Oval 255"/>
                <p:cNvSpPr/>
                <p:nvPr/>
              </p:nvSpPr>
              <p:spPr>
                <a:xfrm>
                  <a:off x="345837" y="3414157"/>
                  <a:ext cx="1120140" cy="1120140"/>
                </a:xfrm>
                <a:prstGeom prst="ellipse">
                  <a:avLst/>
                </a:prstGeom>
                <a:solidFill>
                  <a:sysClr val="window" lastClr="FFFFFF">
                    <a:lumMod val="85000"/>
                  </a:sysClr>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57" name="Oval 386"/>
                <p:cNvSpPr/>
                <p:nvPr/>
              </p:nvSpPr>
              <p:spPr>
                <a:xfrm>
                  <a:off x="429335" y="4210520"/>
                  <a:ext cx="953144" cy="301967"/>
                </a:xfrm>
                <a:custGeom>
                  <a:avLst/>
                  <a:gdLst/>
                  <a:ahLst/>
                  <a:cxnLst/>
                  <a:rect l="l" t="t" r="r" b="b"/>
                  <a:pathLst>
                    <a:path w="1631433" h="516857">
                      <a:moveTo>
                        <a:pt x="1631433" y="0"/>
                      </a:moveTo>
                      <a:cubicBezTo>
                        <a:pt x="1484412" y="306093"/>
                        <a:pt x="1171289" y="516857"/>
                        <a:pt x="808939" y="516857"/>
                      </a:cubicBezTo>
                      <a:cubicBezTo>
                        <a:pt x="457720" y="516857"/>
                        <a:pt x="152749" y="318843"/>
                        <a:pt x="0" y="28139"/>
                      </a:cubicBezTo>
                      <a:cubicBezTo>
                        <a:pt x="176185" y="284482"/>
                        <a:pt x="471647" y="452035"/>
                        <a:pt x="806243" y="452035"/>
                      </a:cubicBezTo>
                      <a:cubicBezTo>
                        <a:pt x="1153007" y="452035"/>
                        <a:pt x="1457738" y="272075"/>
                        <a:pt x="1631433" y="0"/>
                      </a:cubicBezTo>
                      <a:close/>
                    </a:path>
                  </a:pathLst>
                </a:custGeom>
                <a:solidFill>
                  <a:sysClr val="window" lastClr="FFFFFF">
                    <a:alpha val="71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58" name="Oval 257"/>
                <p:cNvSpPr/>
                <p:nvPr/>
              </p:nvSpPr>
              <p:spPr>
                <a:xfrm>
                  <a:off x="464852" y="3440925"/>
                  <a:ext cx="882111" cy="775612"/>
                </a:xfrm>
                <a:prstGeom prst="ellipse">
                  <a:avLst/>
                </a:prstGeom>
                <a:gradFill>
                  <a:gsLst>
                    <a:gs pos="0">
                      <a:sysClr val="window" lastClr="FFFFFF">
                        <a:lumMod val="100000"/>
                        <a:alpha val="90000"/>
                      </a:sysClr>
                    </a:gs>
                    <a:gs pos="100000">
                      <a:sysClr val="window" lastClr="FFFFFF">
                        <a:alpha val="0"/>
                      </a:sysClr>
                    </a:gs>
                  </a:gsLst>
                  <a:lin ang="5400000" scaled="1"/>
                </a:gra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 lastClr="FFFFFF"/>
                    </a:solidFill>
                    <a:effectLst/>
                    <a:uLnTx/>
                    <a:uFillTx/>
                    <a:latin typeface="Calibri"/>
                    <a:ea typeface="+mn-ea"/>
                    <a:cs typeface="+mn-cs"/>
                  </a:endParaRPr>
                </a:p>
              </p:txBody>
            </p:sp>
          </p:grpSp>
        </p:grpSp>
        <p:grpSp>
          <p:nvGrpSpPr>
            <p:cNvPr id="240" name="Group 45"/>
            <p:cNvGrpSpPr/>
            <p:nvPr/>
          </p:nvGrpSpPr>
          <p:grpSpPr>
            <a:xfrm>
              <a:off x="537606" y="3274753"/>
              <a:ext cx="2053194" cy="1525847"/>
              <a:chOff x="537606" y="3274753"/>
              <a:chExt cx="2053194" cy="1525847"/>
            </a:xfrm>
          </p:grpSpPr>
          <p:grpSp>
            <p:nvGrpSpPr>
              <p:cNvPr id="241" name="Group 49"/>
              <p:cNvGrpSpPr/>
              <p:nvPr/>
            </p:nvGrpSpPr>
            <p:grpSpPr>
              <a:xfrm>
                <a:off x="726945" y="3274753"/>
                <a:ext cx="950633" cy="928947"/>
                <a:chOff x="400806" y="2980881"/>
                <a:chExt cx="1187060" cy="1159980"/>
              </a:xfrm>
            </p:grpSpPr>
            <p:sp>
              <p:nvSpPr>
                <p:cNvPr id="249" name="Oval 248"/>
                <p:cNvSpPr/>
                <p:nvPr/>
              </p:nvSpPr>
              <p:spPr>
                <a:xfrm>
                  <a:off x="400806" y="3607461"/>
                  <a:ext cx="1187060" cy="533400"/>
                </a:xfrm>
                <a:prstGeom prst="ellipse">
                  <a:avLst/>
                </a:prstGeom>
                <a:gradFill flip="none" rotWithShape="1">
                  <a:gsLst>
                    <a:gs pos="0">
                      <a:sysClr val="windowText" lastClr="000000">
                        <a:lumMod val="50000"/>
                        <a:lumOff val="50000"/>
                        <a:alpha val="70000"/>
                      </a:sysClr>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grpSp>
              <p:nvGrpSpPr>
                <p:cNvPr id="250" name="Group 51"/>
                <p:cNvGrpSpPr/>
                <p:nvPr/>
              </p:nvGrpSpPr>
              <p:grpSpPr>
                <a:xfrm>
                  <a:off x="540872" y="2980881"/>
                  <a:ext cx="906928" cy="906928"/>
                  <a:chOff x="345837" y="3414157"/>
                  <a:chExt cx="1120140" cy="1120140"/>
                </a:xfrm>
              </p:grpSpPr>
              <p:sp>
                <p:nvSpPr>
                  <p:cNvPr id="251" name="Oval 250"/>
                  <p:cNvSpPr/>
                  <p:nvPr/>
                </p:nvSpPr>
                <p:spPr>
                  <a:xfrm>
                    <a:off x="345837" y="3414157"/>
                    <a:ext cx="1120140" cy="1120140"/>
                  </a:xfrm>
                  <a:prstGeom prst="ellipse">
                    <a:avLst/>
                  </a:prstGeom>
                  <a:solidFill>
                    <a:sysClr val="window" lastClr="FFFFFF">
                      <a:lumMod val="85000"/>
                    </a:sysClr>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52" name="Oval 386"/>
                  <p:cNvSpPr/>
                  <p:nvPr/>
                </p:nvSpPr>
                <p:spPr>
                  <a:xfrm>
                    <a:off x="429335" y="4210520"/>
                    <a:ext cx="953144" cy="301967"/>
                  </a:xfrm>
                  <a:custGeom>
                    <a:avLst/>
                    <a:gdLst/>
                    <a:ahLst/>
                    <a:cxnLst/>
                    <a:rect l="l" t="t" r="r" b="b"/>
                    <a:pathLst>
                      <a:path w="1631433" h="516857">
                        <a:moveTo>
                          <a:pt x="1631433" y="0"/>
                        </a:moveTo>
                        <a:cubicBezTo>
                          <a:pt x="1484412" y="306093"/>
                          <a:pt x="1171289" y="516857"/>
                          <a:pt x="808939" y="516857"/>
                        </a:cubicBezTo>
                        <a:cubicBezTo>
                          <a:pt x="457720" y="516857"/>
                          <a:pt x="152749" y="318843"/>
                          <a:pt x="0" y="28139"/>
                        </a:cubicBezTo>
                        <a:cubicBezTo>
                          <a:pt x="176185" y="284482"/>
                          <a:pt x="471647" y="452035"/>
                          <a:pt x="806243" y="452035"/>
                        </a:cubicBezTo>
                        <a:cubicBezTo>
                          <a:pt x="1153007" y="452035"/>
                          <a:pt x="1457738" y="272075"/>
                          <a:pt x="1631433" y="0"/>
                        </a:cubicBezTo>
                        <a:close/>
                      </a:path>
                    </a:pathLst>
                  </a:custGeom>
                  <a:solidFill>
                    <a:sysClr val="window" lastClr="FFFFFF">
                      <a:alpha val="71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53" name="Oval 252"/>
                  <p:cNvSpPr/>
                  <p:nvPr/>
                </p:nvSpPr>
                <p:spPr>
                  <a:xfrm>
                    <a:off x="464852" y="3440925"/>
                    <a:ext cx="882111" cy="775612"/>
                  </a:xfrm>
                  <a:prstGeom prst="ellipse">
                    <a:avLst/>
                  </a:prstGeom>
                  <a:gradFill>
                    <a:gsLst>
                      <a:gs pos="0">
                        <a:sysClr val="window" lastClr="FFFFFF">
                          <a:lumMod val="100000"/>
                          <a:alpha val="90000"/>
                        </a:sysClr>
                      </a:gs>
                      <a:gs pos="100000">
                        <a:sysClr val="window" lastClr="FFFFFF">
                          <a:alpha val="0"/>
                        </a:sysClr>
                      </a:gs>
                    </a:gsLst>
                    <a:lin ang="5400000" scaled="1"/>
                  </a:gra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 lastClr="FFFFFF"/>
                      </a:solidFill>
                      <a:effectLst/>
                      <a:uLnTx/>
                      <a:uFillTx/>
                      <a:latin typeface="Calibri"/>
                      <a:ea typeface="+mn-ea"/>
                      <a:cs typeface="+mn-cs"/>
                    </a:endParaRPr>
                  </a:p>
                </p:txBody>
              </p:sp>
            </p:grpSp>
          </p:grpSp>
          <p:sp>
            <p:nvSpPr>
              <p:cNvPr id="242" name="Right Arrow 241"/>
              <p:cNvSpPr/>
              <p:nvPr/>
            </p:nvSpPr>
            <p:spPr>
              <a:xfrm>
                <a:off x="1587866" y="3391914"/>
                <a:ext cx="1002934" cy="712001"/>
              </a:xfrm>
              <a:prstGeom prst="rightArrow">
                <a:avLst>
                  <a:gd name="adj1" fmla="val 57667"/>
                  <a:gd name="adj2" fmla="val 50000"/>
                </a:avLst>
              </a:prstGeom>
              <a:gradFill flip="none" rotWithShape="1">
                <a:gsLst>
                  <a:gs pos="100000">
                    <a:sysClr val="windowText" lastClr="000000">
                      <a:lumMod val="65000"/>
                      <a:lumOff val="35000"/>
                    </a:sysClr>
                  </a:gs>
                  <a:gs pos="52000">
                    <a:srgbClr val="9B9B9B"/>
                  </a:gs>
                  <a:gs pos="0">
                    <a:sysClr val="window" lastClr="FFFFFF">
                      <a:alpha val="0"/>
                    </a:sysClr>
                  </a:gs>
                </a:gsLst>
                <a:lin ang="0" scaled="1"/>
                <a:tileRect/>
              </a:gradFill>
              <a:ln w="12700" cap="flat" cmpd="sng" algn="ctr">
                <a:noFill/>
                <a:prstDash val="solid"/>
              </a:ln>
              <a:effectLst/>
            </p:spPr>
            <p:txBody>
              <a:bodyPr wrap="none" lIns="129513" tIns="64755" rIns="457200" bIns="64755" rtlCol="0" anchor="ctr"/>
              <a:lstStyle/>
              <a:p>
                <a:pPr marL="0" marR="0" lvl="0" indent="0" algn="ctr" defTabSz="1295129"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prstClr val="white"/>
                  </a:solidFill>
                  <a:effectLst>
                    <a:outerShdw blurRad="63500" dist="38100" dir="5400000" algn="t" rotWithShape="0">
                      <a:prstClr val="black">
                        <a:alpha val="40000"/>
                      </a:prstClr>
                    </a:outerShdw>
                  </a:effectLst>
                  <a:uLnTx/>
                  <a:uFillTx/>
                  <a:latin typeface="Helvetica Neue"/>
                  <a:ea typeface="ヒラギノ角ゴ ProN W3" charset="-128"/>
                </a:endParaRPr>
              </a:p>
            </p:txBody>
          </p:sp>
          <p:grpSp>
            <p:nvGrpSpPr>
              <p:cNvPr id="243" name="Group 60"/>
              <p:cNvGrpSpPr/>
              <p:nvPr/>
            </p:nvGrpSpPr>
            <p:grpSpPr>
              <a:xfrm>
                <a:off x="537606" y="3871653"/>
                <a:ext cx="950633" cy="928947"/>
                <a:chOff x="400806" y="2980881"/>
                <a:chExt cx="1187060" cy="1159980"/>
              </a:xfrm>
            </p:grpSpPr>
            <p:sp>
              <p:nvSpPr>
                <p:cNvPr id="244" name="Oval 243"/>
                <p:cNvSpPr/>
                <p:nvPr/>
              </p:nvSpPr>
              <p:spPr>
                <a:xfrm>
                  <a:off x="400806" y="3607461"/>
                  <a:ext cx="1187060" cy="533400"/>
                </a:xfrm>
                <a:prstGeom prst="ellipse">
                  <a:avLst/>
                </a:prstGeom>
                <a:gradFill flip="none" rotWithShape="1">
                  <a:gsLst>
                    <a:gs pos="0">
                      <a:sysClr val="windowText" lastClr="000000">
                        <a:lumMod val="50000"/>
                        <a:lumOff val="50000"/>
                        <a:alpha val="70000"/>
                      </a:sysClr>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Calibri"/>
                    <a:ea typeface="+mn-ea"/>
                    <a:cs typeface="+mn-cs"/>
                  </a:endParaRPr>
                </a:p>
              </p:txBody>
            </p:sp>
            <p:grpSp>
              <p:nvGrpSpPr>
                <p:cNvPr id="245" name="Group 62"/>
                <p:cNvGrpSpPr/>
                <p:nvPr/>
              </p:nvGrpSpPr>
              <p:grpSpPr>
                <a:xfrm>
                  <a:off x="540872" y="2980881"/>
                  <a:ext cx="906928" cy="906928"/>
                  <a:chOff x="345837" y="3414157"/>
                  <a:chExt cx="1120140" cy="1120140"/>
                </a:xfrm>
              </p:grpSpPr>
              <p:sp>
                <p:nvSpPr>
                  <p:cNvPr id="246" name="Oval 245"/>
                  <p:cNvSpPr/>
                  <p:nvPr/>
                </p:nvSpPr>
                <p:spPr>
                  <a:xfrm>
                    <a:off x="345837" y="3414157"/>
                    <a:ext cx="1120140" cy="1120140"/>
                  </a:xfrm>
                  <a:prstGeom prst="ellipse">
                    <a:avLst/>
                  </a:prstGeom>
                  <a:solidFill>
                    <a:sysClr val="window" lastClr="FFFFFF">
                      <a:lumMod val="85000"/>
                    </a:sysClr>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47" name="Oval 386"/>
                  <p:cNvSpPr/>
                  <p:nvPr/>
                </p:nvSpPr>
                <p:spPr>
                  <a:xfrm>
                    <a:off x="429335" y="4210520"/>
                    <a:ext cx="953144" cy="301967"/>
                  </a:xfrm>
                  <a:custGeom>
                    <a:avLst/>
                    <a:gdLst/>
                    <a:ahLst/>
                    <a:cxnLst/>
                    <a:rect l="l" t="t" r="r" b="b"/>
                    <a:pathLst>
                      <a:path w="1631433" h="516857">
                        <a:moveTo>
                          <a:pt x="1631433" y="0"/>
                        </a:moveTo>
                        <a:cubicBezTo>
                          <a:pt x="1484412" y="306093"/>
                          <a:pt x="1171289" y="516857"/>
                          <a:pt x="808939" y="516857"/>
                        </a:cubicBezTo>
                        <a:cubicBezTo>
                          <a:pt x="457720" y="516857"/>
                          <a:pt x="152749" y="318843"/>
                          <a:pt x="0" y="28139"/>
                        </a:cubicBezTo>
                        <a:cubicBezTo>
                          <a:pt x="176185" y="284482"/>
                          <a:pt x="471647" y="452035"/>
                          <a:pt x="806243" y="452035"/>
                        </a:cubicBezTo>
                        <a:cubicBezTo>
                          <a:pt x="1153007" y="452035"/>
                          <a:pt x="1457738" y="272075"/>
                          <a:pt x="1631433" y="0"/>
                        </a:cubicBezTo>
                        <a:close/>
                      </a:path>
                    </a:pathLst>
                  </a:custGeom>
                  <a:solidFill>
                    <a:sysClr val="window" lastClr="FFFFFF">
                      <a:alpha val="71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48" name="Oval 247"/>
                  <p:cNvSpPr/>
                  <p:nvPr/>
                </p:nvSpPr>
                <p:spPr>
                  <a:xfrm>
                    <a:off x="464852" y="3440925"/>
                    <a:ext cx="882111" cy="775612"/>
                  </a:xfrm>
                  <a:prstGeom prst="ellipse">
                    <a:avLst/>
                  </a:prstGeom>
                  <a:gradFill>
                    <a:gsLst>
                      <a:gs pos="0">
                        <a:sysClr val="window" lastClr="FFFFFF">
                          <a:lumMod val="100000"/>
                          <a:alpha val="90000"/>
                        </a:sysClr>
                      </a:gs>
                      <a:gs pos="100000">
                        <a:sysClr val="window" lastClr="FFFFFF">
                          <a:alpha val="0"/>
                        </a:sysClr>
                      </a:gs>
                    </a:gsLst>
                    <a:lin ang="5400000" scaled="1"/>
                  </a:gra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 lastClr="FFFFFF"/>
                      </a:solidFill>
                      <a:effectLst/>
                      <a:uLnTx/>
                      <a:uFillTx/>
                      <a:latin typeface="Calibri"/>
                      <a:ea typeface="+mn-ea"/>
                      <a:cs typeface="+mn-cs"/>
                    </a:endParaRPr>
                  </a:p>
                </p:txBody>
              </p:sp>
            </p:grpSp>
          </p:grpSp>
        </p:grpSp>
      </p:grpSp>
      <p:grpSp>
        <p:nvGrpSpPr>
          <p:cNvPr id="259" name="Group 258"/>
          <p:cNvGrpSpPr>
            <a:grpSpLocks noChangeAspect="1"/>
          </p:cNvGrpSpPr>
          <p:nvPr/>
        </p:nvGrpSpPr>
        <p:grpSpPr>
          <a:xfrm>
            <a:off x="0" y="3768922"/>
            <a:ext cx="508961" cy="1137034"/>
            <a:chOff x="2526619" y="3231420"/>
            <a:chExt cx="1325880" cy="2447151"/>
          </a:xfrm>
        </p:grpSpPr>
        <p:sp>
          <p:nvSpPr>
            <p:cNvPr id="260" name="Rounded Rectangle 259"/>
            <p:cNvSpPr/>
            <p:nvPr/>
          </p:nvSpPr>
          <p:spPr>
            <a:xfrm>
              <a:off x="2526619" y="4539657"/>
              <a:ext cx="1325880" cy="1138914"/>
            </a:xfrm>
            <a:prstGeom prst="roundRect">
              <a:avLst>
                <a:gd name="adj" fmla="val 5138"/>
              </a:avLst>
            </a:prstGeom>
            <a:solidFill>
              <a:srgbClr val="C11D07"/>
            </a:solidFill>
            <a:ln w="25400" cap="flat" cmpd="sng" algn="ctr">
              <a:noFill/>
              <a:prstDash val="solid"/>
            </a:ln>
            <a:effectLst>
              <a:outerShdw blurRad="317500" dist="38100" dir="5400000" algn="t" rotWithShape="0">
                <a:prstClr val="black">
                  <a:alpha val="65000"/>
                </a:prstClr>
              </a:outerShdw>
            </a:effectLst>
            <a:scene3d>
              <a:camera prst="perspectiveRelaxed" fov="7200000">
                <a:rot lat="17673596" lon="0" rev="0"/>
              </a:camera>
              <a:lightRig rig="threePt" dir="t">
                <a:rot lat="0" lon="0" rev="10200000"/>
              </a:lightRig>
            </a:scene3d>
            <a:sp3d extrusionH="38100" prstMaterial="plastic">
              <a:bevelT w="50800" h="508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61" name="Isosceles Triangle 35"/>
            <p:cNvSpPr/>
            <p:nvPr/>
          </p:nvSpPr>
          <p:spPr>
            <a:xfrm>
              <a:off x="2701879" y="3231420"/>
              <a:ext cx="975360" cy="2069621"/>
            </a:xfrm>
            <a:custGeom>
              <a:avLst/>
              <a:gdLst>
                <a:gd name="connsiteX0" fmla="*/ 509840 w 975360"/>
                <a:gd name="connsiteY0" fmla="*/ 792 h 2069621"/>
                <a:gd name="connsiteX1" fmla="*/ 563039 w 975360"/>
                <a:gd name="connsiteY1" fmla="*/ 10265 h 2069621"/>
                <a:gd name="connsiteX2" fmla="*/ 975360 w 975360"/>
                <a:gd name="connsiteY2" fmla="*/ 1885811 h 2069621"/>
                <a:gd name="connsiteX3" fmla="*/ 487880 w 975360"/>
                <a:gd name="connsiteY3" fmla="*/ 2069621 h 2069621"/>
                <a:gd name="connsiteX4" fmla="*/ 400 w 975360"/>
                <a:gd name="connsiteY4" fmla="*/ 1885811 h 2069621"/>
                <a:gd name="connsiteX5" fmla="*/ 447 w 975360"/>
                <a:gd name="connsiteY5" fmla="*/ 1885602 h 2069621"/>
                <a:gd name="connsiteX6" fmla="*/ 0 w 975360"/>
                <a:gd name="connsiteY6" fmla="*/ 1885602 h 2069621"/>
                <a:gd name="connsiteX7" fmla="*/ 410486 w 975360"/>
                <a:gd name="connsiteY7" fmla="*/ 8836 h 2069621"/>
                <a:gd name="connsiteX8" fmla="*/ 509840 w 975360"/>
                <a:gd name="connsiteY8" fmla="*/ 792 h 20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360" h="2069621">
                  <a:moveTo>
                    <a:pt x="509840" y="792"/>
                  </a:moveTo>
                  <a:cubicBezTo>
                    <a:pt x="527756" y="1978"/>
                    <a:pt x="545585" y="4458"/>
                    <a:pt x="563039" y="10265"/>
                  </a:cubicBezTo>
                  <a:lnTo>
                    <a:pt x="975360" y="1885811"/>
                  </a:lnTo>
                  <a:cubicBezTo>
                    <a:pt x="975360" y="2008368"/>
                    <a:pt x="757108" y="2069621"/>
                    <a:pt x="487880" y="2069621"/>
                  </a:cubicBezTo>
                  <a:cubicBezTo>
                    <a:pt x="218652" y="2069621"/>
                    <a:pt x="400" y="2008368"/>
                    <a:pt x="400" y="1885811"/>
                  </a:cubicBezTo>
                  <a:cubicBezTo>
                    <a:pt x="416" y="1885741"/>
                    <a:pt x="431" y="1885671"/>
                    <a:pt x="447" y="1885602"/>
                  </a:cubicBezTo>
                  <a:lnTo>
                    <a:pt x="0" y="1885602"/>
                  </a:lnTo>
                  <a:lnTo>
                    <a:pt x="410486" y="8836"/>
                  </a:lnTo>
                  <a:cubicBezTo>
                    <a:pt x="444336" y="757"/>
                    <a:pt x="477232" y="-1367"/>
                    <a:pt x="509840" y="792"/>
                  </a:cubicBezTo>
                  <a:close/>
                </a:path>
              </a:pathLst>
            </a:custGeom>
            <a:gradFill>
              <a:gsLst>
                <a:gs pos="0">
                  <a:srgbClr val="F82306"/>
                </a:gs>
                <a:gs pos="100000">
                  <a:srgbClr val="A01704"/>
                </a:gs>
                <a:gs pos="40000">
                  <a:srgbClr val="F83B22"/>
                </a:gs>
              </a:gsLst>
              <a:lin ang="240000" scaled="0"/>
            </a:gradFill>
            <a:ln w="25400" cap="flat" cmpd="sng" algn="ctr">
              <a:noFill/>
              <a:prstDash val="solid"/>
            </a:ln>
            <a:effectLst>
              <a:innerShdw blurRad="317500" dist="50800" dir="3000000">
                <a:prstClr val="black">
                  <a:alpha val="35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62" name="Isosceles Triangle 35"/>
            <p:cNvSpPr/>
            <p:nvPr/>
          </p:nvSpPr>
          <p:spPr>
            <a:xfrm>
              <a:off x="2753496" y="4525954"/>
              <a:ext cx="860697" cy="384360"/>
            </a:xfrm>
            <a:custGeom>
              <a:avLst/>
              <a:gdLst/>
              <a:ahLst/>
              <a:cxnLst/>
              <a:rect l="l" t="t" r="r" b="b"/>
              <a:pathLst>
                <a:path w="860697" h="384360">
                  <a:moveTo>
                    <a:pt x="70995" y="0"/>
                  </a:moveTo>
                  <a:cubicBezTo>
                    <a:pt x="181101" y="30977"/>
                    <a:pt x="302713" y="47879"/>
                    <a:pt x="430508" y="47879"/>
                  </a:cubicBezTo>
                  <a:cubicBezTo>
                    <a:pt x="558047" y="47879"/>
                    <a:pt x="679426" y="31045"/>
                    <a:pt x="789368" y="226"/>
                  </a:cubicBezTo>
                  <a:lnTo>
                    <a:pt x="860697" y="324684"/>
                  </a:lnTo>
                  <a:cubicBezTo>
                    <a:pt x="727135" y="363624"/>
                    <a:pt x="582050" y="384360"/>
                    <a:pt x="430508" y="384360"/>
                  </a:cubicBezTo>
                  <a:cubicBezTo>
                    <a:pt x="278845" y="384360"/>
                    <a:pt x="133651" y="363591"/>
                    <a:pt x="0" y="324596"/>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63" name="Isosceles Triangle 35"/>
            <p:cNvSpPr/>
            <p:nvPr/>
          </p:nvSpPr>
          <p:spPr>
            <a:xfrm>
              <a:off x="2882253" y="3951642"/>
              <a:ext cx="603182" cy="353398"/>
            </a:xfrm>
            <a:custGeom>
              <a:avLst/>
              <a:gdLst/>
              <a:ahLst/>
              <a:cxnLst/>
              <a:rect l="l" t="t" r="r" b="b"/>
              <a:pathLst>
                <a:path w="603182" h="353398">
                  <a:moveTo>
                    <a:pt x="68157" y="0"/>
                  </a:moveTo>
                  <a:cubicBezTo>
                    <a:pt x="141180" y="21147"/>
                    <a:pt x="220051" y="31240"/>
                    <a:pt x="302056" y="31240"/>
                  </a:cubicBezTo>
                  <a:cubicBezTo>
                    <a:pt x="383587" y="31240"/>
                    <a:pt x="462020" y="21263"/>
                    <a:pt x="534675" y="299"/>
                  </a:cubicBezTo>
                  <a:lnTo>
                    <a:pt x="603182" y="311919"/>
                  </a:lnTo>
                  <a:cubicBezTo>
                    <a:pt x="508278" y="338955"/>
                    <a:pt x="407075" y="353398"/>
                    <a:pt x="302056" y="353398"/>
                  </a:cubicBezTo>
                  <a:cubicBezTo>
                    <a:pt x="196690" y="353398"/>
                    <a:pt x="95166" y="338859"/>
                    <a:pt x="0" y="311618"/>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64" name="Isosceles Triangle 35"/>
            <p:cNvSpPr/>
            <p:nvPr/>
          </p:nvSpPr>
          <p:spPr>
            <a:xfrm>
              <a:off x="3006985" y="3432205"/>
              <a:ext cx="353718" cy="280374"/>
            </a:xfrm>
            <a:custGeom>
              <a:avLst/>
              <a:gdLst/>
              <a:ahLst/>
              <a:cxnLst/>
              <a:rect l="l" t="t" r="r" b="b"/>
              <a:pathLst>
                <a:path w="353718" h="280374">
                  <a:moveTo>
                    <a:pt x="56505" y="0"/>
                  </a:moveTo>
                  <a:cubicBezTo>
                    <a:pt x="95458" y="7520"/>
                    <a:pt x="136018" y="11189"/>
                    <a:pt x="177626" y="11189"/>
                  </a:cubicBezTo>
                  <a:cubicBezTo>
                    <a:pt x="218579" y="11189"/>
                    <a:pt x="258515" y="7635"/>
                    <a:pt x="296925" y="462"/>
                  </a:cubicBezTo>
                  <a:lnTo>
                    <a:pt x="353718" y="258800"/>
                  </a:lnTo>
                  <a:cubicBezTo>
                    <a:pt x="297487" y="273547"/>
                    <a:pt x="238387" y="280374"/>
                    <a:pt x="177626" y="280374"/>
                  </a:cubicBezTo>
                  <a:cubicBezTo>
                    <a:pt x="116307" y="280374"/>
                    <a:pt x="56679" y="273421"/>
                    <a:pt x="0" y="258343"/>
                  </a:cubicBezTo>
                  <a:close/>
                </a:path>
              </a:pathLst>
            </a:custGeom>
            <a:gradFill flip="none" rotWithShape="1">
              <a:gsLst>
                <a:gs pos="0">
                  <a:srgbClr val="F8F8F8"/>
                </a:gs>
                <a:gs pos="100000">
                  <a:srgbClr val="969696"/>
                </a:gs>
              </a:gsLst>
              <a:lin ang="0" scaled="1"/>
              <a:tileRect/>
            </a:gradFill>
            <a:ln w="12700" cap="rnd"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65" name="Isosceles Triangle 35"/>
            <p:cNvSpPr/>
            <p:nvPr/>
          </p:nvSpPr>
          <p:spPr>
            <a:xfrm>
              <a:off x="2792584" y="3232362"/>
              <a:ext cx="378767" cy="2058550"/>
            </a:xfrm>
            <a:custGeom>
              <a:avLst/>
              <a:gdLst/>
              <a:ahLst/>
              <a:cxnLst/>
              <a:rect l="l" t="t" r="r" b="b"/>
              <a:pathLst>
                <a:path w="378767" h="2058550">
                  <a:moveTo>
                    <a:pt x="378767" y="0"/>
                  </a:moveTo>
                  <a:lnTo>
                    <a:pt x="221834" y="2058550"/>
                  </a:lnTo>
                  <a:cubicBezTo>
                    <a:pt x="131841" y="2048309"/>
                    <a:pt x="54775" y="2028807"/>
                    <a:pt x="0" y="1999947"/>
                  </a:cubicBezTo>
                  <a:lnTo>
                    <a:pt x="259148" y="285117"/>
                  </a:lnTo>
                  <a:lnTo>
                    <a:pt x="319782" y="7894"/>
                  </a:lnTo>
                  <a:cubicBezTo>
                    <a:pt x="339721" y="3135"/>
                    <a:pt x="359328" y="443"/>
                    <a:pt x="378767" y="0"/>
                  </a:cubicBez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66" name="Isosceles Triangle 35"/>
            <p:cNvSpPr/>
            <p:nvPr/>
          </p:nvSpPr>
          <p:spPr>
            <a:xfrm>
              <a:off x="3081496" y="3232259"/>
              <a:ext cx="153711" cy="2068782"/>
            </a:xfrm>
            <a:custGeom>
              <a:avLst/>
              <a:gdLst/>
              <a:ahLst/>
              <a:cxnLst/>
              <a:rect l="l" t="t" r="r" b="b"/>
              <a:pathLst>
                <a:path w="153711" h="2068782">
                  <a:moveTo>
                    <a:pt x="117624" y="0"/>
                  </a:moveTo>
                  <a:lnTo>
                    <a:pt x="153711" y="2067454"/>
                  </a:lnTo>
                  <a:cubicBezTo>
                    <a:pt x="138761" y="2068584"/>
                    <a:pt x="123595" y="2068782"/>
                    <a:pt x="108264" y="2068782"/>
                  </a:cubicBezTo>
                  <a:cubicBezTo>
                    <a:pt x="71048" y="2068782"/>
                    <a:pt x="34806" y="2067612"/>
                    <a:pt x="0" y="2064968"/>
                  </a:cubicBezTo>
                  <a:lnTo>
                    <a:pt x="100882" y="62"/>
                  </a:lnTo>
                  <a:close/>
                </a:path>
              </a:pathLst>
            </a:custGeom>
            <a:solidFill>
              <a:sysClr val="windowText" lastClr="000000">
                <a:alpha val="1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sp>
        <p:nvSpPr>
          <p:cNvPr id="267" name="TextBox 266"/>
          <p:cNvSpPr txBox="1"/>
          <p:nvPr/>
        </p:nvSpPr>
        <p:spPr>
          <a:xfrm>
            <a:off x="0" y="4900410"/>
            <a:ext cx="1982419" cy="954107"/>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Application Stack for Automation</a:t>
            </a:r>
          </a:p>
          <a:p>
            <a:pPr marL="0" marR="0" lvl="0" indent="0" defTabSz="914400" eaLnBrk="1" fontAlgn="auto" latinLnBrk="0" hangingPunct="1">
              <a:lnSpc>
                <a:spcPct val="100000"/>
              </a:lnSpc>
              <a:spcBef>
                <a:spcPts val="0"/>
              </a:spcBef>
              <a:spcAft>
                <a:spcPts val="0"/>
              </a:spcAft>
              <a:buClrTx/>
              <a:buSzTx/>
              <a:buFontTx/>
              <a:buNone/>
              <a:tabLst/>
              <a:defRPr/>
            </a:pPr>
            <a:r>
              <a:rPr lang="en-US" sz="800" b="0" kern="0" dirty="0" smtClean="0">
                <a:solidFill>
                  <a:sysClr val="windowText" lastClr="000000"/>
                </a:solidFill>
                <a:latin typeface="Calibri" pitchFamily="34" charset="0"/>
              </a:rPr>
              <a:t>PRIM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SOA Services </a:t>
            </a:r>
          </a:p>
          <a:p>
            <a:pPr marL="0" marR="0" lvl="0" indent="0" defTabSz="914400" eaLnBrk="1" fontAlgn="auto" latinLnBrk="0" hangingPunct="1">
              <a:lnSpc>
                <a:spcPct val="100000"/>
              </a:lnSpc>
              <a:spcBef>
                <a:spcPts val="0"/>
              </a:spcBef>
              <a:spcAft>
                <a:spcPts val="0"/>
              </a:spcAft>
              <a:buClrTx/>
              <a:buSzTx/>
              <a:buFontTx/>
              <a:buNone/>
              <a:tabLst/>
              <a:defRPr/>
            </a:pPr>
            <a:r>
              <a:rPr lang="en-US" sz="800" b="0" kern="0" dirty="0" smtClean="0">
                <a:solidFill>
                  <a:sysClr val="windowText" lastClr="000000"/>
                </a:solidFill>
                <a:latin typeface="Calibri" pitchFamily="34" charset="0"/>
              </a:rPr>
              <a:t>Sales Forc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SAS JOB</a:t>
            </a:r>
          </a:p>
          <a:p>
            <a:pPr marL="0" marR="0" lvl="0" indent="0" defTabSz="914400" eaLnBrk="1" fontAlgn="auto" latinLnBrk="0" hangingPunct="1">
              <a:lnSpc>
                <a:spcPct val="100000"/>
              </a:lnSpc>
              <a:spcBef>
                <a:spcPts val="0"/>
              </a:spcBef>
              <a:spcAft>
                <a:spcPts val="0"/>
              </a:spcAft>
              <a:buClrTx/>
              <a:buSzTx/>
              <a:buFontTx/>
              <a:buNone/>
              <a:tabLst/>
              <a:defRPr/>
            </a:pPr>
            <a:r>
              <a:rPr lang="en-US" sz="800" b="0" kern="0" dirty="0" err="1" smtClean="0">
                <a:solidFill>
                  <a:sysClr val="windowText" lastClr="000000"/>
                </a:solidFill>
                <a:latin typeface="Calibri" pitchFamily="34" charset="0"/>
              </a:rPr>
              <a:t>NetBank</a:t>
            </a:r>
            <a:endParaRPr lang="en-US" sz="800" b="0" kern="0" dirty="0" smtClean="0">
              <a:solidFill>
                <a:sysClr val="windowText" lastClr="000000"/>
              </a:solidFill>
              <a:latin typeface="Calibri"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Mobile APP  </a:t>
            </a:r>
            <a:endParaRPr kumimoji="0" lang="en-US" sz="800" b="0" i="0" u="none" strike="noStrike" kern="0" cap="none" spc="0" normalizeH="0" baseline="0" noProof="0" dirty="0">
              <a:ln>
                <a:noFill/>
              </a:ln>
              <a:solidFill>
                <a:sysClr val="windowText" lastClr="000000"/>
              </a:solidFill>
              <a:effectLst/>
              <a:uLnTx/>
              <a:uFillTx/>
              <a:latin typeface="Calibri" pitchFamily="34" charset="0"/>
            </a:endParaRPr>
          </a:p>
        </p:txBody>
      </p:sp>
      <p:sp>
        <p:nvSpPr>
          <p:cNvPr id="272" name="TextBox 271"/>
          <p:cNvSpPr txBox="1"/>
          <p:nvPr/>
        </p:nvSpPr>
        <p:spPr>
          <a:xfrm>
            <a:off x="3508198" y="4598501"/>
            <a:ext cx="2330286" cy="461665"/>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Smoke Test Suite </a:t>
            </a: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 will comprise of the prime regression testcases and </a:t>
            </a:r>
            <a:r>
              <a:rPr lang="en-US" sz="800" b="0" kern="0" dirty="0" smtClean="0">
                <a:solidFill>
                  <a:sysClr val="windowText" lastClr="000000"/>
                </a:solidFill>
                <a:latin typeface="Calibri" pitchFamily="34" charset="0"/>
              </a:rPr>
              <a:t>SOA  which will be then </a:t>
            </a: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integrated </a:t>
            </a: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with </a:t>
            </a: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Continuous </a:t>
            </a: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Integration </a:t>
            </a:r>
            <a:r>
              <a:rPr kumimoji="0" lang="en-US" sz="800" b="0" i="0" u="none" strike="noStrike" kern="0" cap="none" spc="0" normalizeH="0" baseline="0" noProof="0" dirty="0" smtClean="0">
                <a:ln>
                  <a:noFill/>
                </a:ln>
                <a:solidFill>
                  <a:sysClr val="windowText" lastClr="000000"/>
                </a:solidFill>
                <a:effectLst/>
                <a:uLnTx/>
                <a:uFillTx/>
                <a:latin typeface="Calibri" pitchFamily="34" charset="0"/>
              </a:rPr>
              <a:t>process</a:t>
            </a:r>
            <a:endParaRPr kumimoji="0" lang="en-US" sz="800" b="0" i="0" u="none" strike="noStrike" kern="0" cap="none" spc="0" normalizeH="0" baseline="0" noProof="0" dirty="0">
              <a:ln>
                <a:noFill/>
              </a:ln>
              <a:solidFill>
                <a:sysClr val="windowText" lastClr="000000"/>
              </a:solidFill>
              <a:effectLst/>
              <a:uLnTx/>
              <a:uFillTx/>
              <a:latin typeface="Calibri"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mation Status Update</a:t>
            </a:r>
            <a:endParaRPr lang="en-US" dirty="0"/>
          </a:p>
        </p:txBody>
      </p:sp>
      <p:graphicFrame>
        <p:nvGraphicFramePr>
          <p:cNvPr id="5" name="Table 4"/>
          <p:cNvGraphicFramePr>
            <a:graphicFrameLocks noGrp="1"/>
          </p:cNvGraphicFramePr>
          <p:nvPr/>
        </p:nvGraphicFramePr>
        <p:xfrm>
          <a:off x="940524" y="1201785"/>
          <a:ext cx="7942218" cy="2455815"/>
        </p:xfrm>
        <a:graphic>
          <a:graphicData uri="http://schemas.openxmlformats.org/drawingml/2006/table">
            <a:tbl>
              <a:tblPr/>
              <a:tblGrid>
                <a:gridCol w="580254"/>
                <a:gridCol w="2445352"/>
                <a:gridCol w="1139784"/>
                <a:gridCol w="1041347"/>
                <a:gridCol w="1098337"/>
                <a:gridCol w="828934"/>
                <a:gridCol w="808210"/>
              </a:tblGrid>
              <a:tr h="219269">
                <a:tc>
                  <a:txBody>
                    <a:bodyPr/>
                    <a:lstStyle/>
                    <a:p>
                      <a:pPr algn="ctr" fontAlgn="ctr"/>
                      <a:r>
                        <a:rPr lang="en-US" sz="1200" b="1" i="0" u="none" strike="noStrike" dirty="0" err="1">
                          <a:solidFill>
                            <a:srgbClr val="000000"/>
                          </a:solidFill>
                          <a:latin typeface="Calibri"/>
                        </a:rPr>
                        <a:t>Sr</a:t>
                      </a:r>
                      <a:r>
                        <a:rPr lang="en-US" sz="1200" b="1" i="0" u="none" strike="noStrike" dirty="0">
                          <a:solidFill>
                            <a:srgbClr val="000000"/>
                          </a:solidFill>
                          <a:latin typeface="Calibri"/>
                        </a:rPr>
                        <a:t> 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US" sz="1200" b="1" i="0" u="none" strike="noStrike">
                          <a:solidFill>
                            <a:srgbClr val="000000"/>
                          </a:solidFill>
                          <a:latin typeface="Calibri"/>
                        </a:rPr>
                        <a:t>Module / Functional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US" sz="1200" b="1" i="0" u="none" strike="noStrike">
                          <a:solidFill>
                            <a:srgbClr val="000000"/>
                          </a:solidFill>
                          <a:latin typeface="Calibri"/>
                        </a:rPr>
                        <a:t>Typ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US" sz="1200" b="1" i="0" u="none" strike="noStrike">
                          <a:solidFill>
                            <a:srgbClr val="000000"/>
                          </a:solidFill>
                          <a:latin typeface="Calibri"/>
                        </a:rPr>
                        <a:t>Test Cas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US" sz="1200" b="1" i="0" u="none" strike="noStrike">
                          <a:solidFill>
                            <a:srgbClr val="000000"/>
                          </a:solidFill>
                          <a:latin typeface="Calibri"/>
                        </a:rPr>
                        <a:t>Complet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US" sz="1200" b="1" i="0" u="none" strike="noStrike">
                          <a:solidFill>
                            <a:srgbClr val="000000"/>
                          </a:solidFill>
                          <a:latin typeface="Calibri"/>
                        </a:rPr>
                        <a:t>Pend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US" sz="1200" b="1" i="0" u="none" strike="noStrike">
                          <a:solidFill>
                            <a:srgbClr val="000000"/>
                          </a:solidFill>
                          <a:latin typeface="Calibri"/>
                        </a:rPr>
                        <a:t>Block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r>
              <a:tr h="230233">
                <a:tc>
                  <a:txBody>
                    <a:bodyPr/>
                    <a:lstStyle/>
                    <a:p>
                      <a:pPr algn="ctr" fontAlgn="ctr"/>
                      <a:r>
                        <a:rPr lang="en-US" sz="1200" b="0" i="0" u="none" strike="noStrike">
                          <a:solidFill>
                            <a:srgbClr val="000000"/>
                          </a:solidFill>
                          <a:latin typeface="Calibri"/>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Calibri"/>
                        </a:rPr>
                        <a:t>Al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End to En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0233">
                <a:tc>
                  <a:txBody>
                    <a:bodyPr/>
                    <a:lstStyle/>
                    <a:p>
                      <a:pPr algn="ctr" fontAlgn="ctr"/>
                      <a:r>
                        <a:rPr lang="en-US" sz="1200" b="0" i="0" u="none" strike="noStrike">
                          <a:solidFill>
                            <a:srgbClr val="000000"/>
                          </a:solidFill>
                          <a:latin typeface="Calibri"/>
                        </a:rPr>
                        <a:t>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200" b="0" i="0" u="none" strike="noStrike" dirty="0">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200" b="1" i="0" u="none" strike="noStrike">
                          <a:solidFill>
                            <a:srgbClr val="000000"/>
                          </a:solidFill>
                          <a:latin typeface="Calibri"/>
                        </a:rPr>
                        <a:t>To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200" b="1" i="0" u="none" strike="noStrike">
                          <a:solidFill>
                            <a:srgbClr val="000000"/>
                          </a:solidFill>
                          <a:latin typeface="Calibri"/>
                        </a:rPr>
                        <a:t>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200" b="1" i="0" u="none" strike="noStrike">
                          <a:solidFill>
                            <a:srgbClr val="000000"/>
                          </a:solidFill>
                          <a:latin typeface="Calibri"/>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200" b="1" i="0" u="none" strike="noStrike">
                          <a:solidFill>
                            <a:srgbClr val="000000"/>
                          </a:solidFill>
                          <a:latin typeface="Calibri"/>
                        </a:rPr>
                        <a:t>7</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r>
              <a:tr h="219269">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269">
                <a:tc>
                  <a:txBody>
                    <a:bodyPr/>
                    <a:lstStyle/>
                    <a:p>
                      <a:pPr algn="ctr" fontAlgn="ctr"/>
                      <a:r>
                        <a:rPr lang="en-US" sz="1200" b="0" i="0" u="none" strike="noStrike">
                          <a:solidFill>
                            <a:srgbClr val="000000"/>
                          </a:solidFill>
                          <a:latin typeface="Calibri"/>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Calibri"/>
                        </a:rPr>
                        <a:t>Transaction Managem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269">
                <a:tc>
                  <a:txBody>
                    <a:bodyPr/>
                    <a:lstStyle/>
                    <a:p>
                      <a:pPr algn="ctr" fontAlgn="ctr"/>
                      <a:r>
                        <a:rPr lang="en-US" sz="1200" b="0" i="0" u="none" strike="noStrike">
                          <a:solidFill>
                            <a:srgbClr val="000000"/>
                          </a:solidFill>
                          <a:latin typeface="Calibri"/>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Secur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Calibri"/>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269">
                <a:tc>
                  <a:txBody>
                    <a:bodyPr/>
                    <a:lstStyle/>
                    <a:p>
                      <a:pPr algn="ctr" fontAlgn="ctr"/>
                      <a:r>
                        <a:rPr lang="en-US" sz="1200" b="0" i="0" u="none" strike="noStrike">
                          <a:solidFill>
                            <a:srgbClr val="000000"/>
                          </a:solidFill>
                          <a:latin typeface="Calibri"/>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Customer Servic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Calibri"/>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2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1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269">
                <a:tc>
                  <a:txBody>
                    <a:bodyPr/>
                    <a:lstStyle/>
                    <a:p>
                      <a:pPr algn="ctr" fontAlgn="ctr"/>
                      <a:r>
                        <a:rPr lang="en-US" sz="1200" b="0" i="0" u="none" strike="noStrike">
                          <a:solidFill>
                            <a:srgbClr val="000000"/>
                          </a:solidFill>
                          <a:latin typeface="Calibri"/>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Application Manag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Calibri"/>
                        </a:rPr>
                        <a:t>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269">
                <a:tc>
                  <a:txBody>
                    <a:bodyPr/>
                    <a:lstStyle/>
                    <a:p>
                      <a:pPr algn="ctr" fontAlgn="ctr"/>
                      <a:r>
                        <a:rPr lang="en-US" sz="1200" b="0" i="0" u="none" strike="noStrike">
                          <a:solidFill>
                            <a:srgbClr val="000000"/>
                          </a:solidFill>
                          <a:latin typeface="Calibri"/>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Card Produc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Calibri"/>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0233">
                <a:tc>
                  <a:txBody>
                    <a:bodyPr/>
                    <a:lstStyle/>
                    <a:p>
                      <a:pPr algn="ctr" fontAlgn="ctr"/>
                      <a:r>
                        <a:rPr lang="en-US" sz="1200" b="0" i="0" u="none" strike="noStrike">
                          <a:solidFill>
                            <a:srgbClr val="000000"/>
                          </a:solidFill>
                          <a:latin typeface="Calibri"/>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Transaction Process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Regress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Calibri"/>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latin typeface="Calibri"/>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0233">
                <a:tc>
                  <a:txBody>
                    <a:bodyPr/>
                    <a:lstStyle/>
                    <a:p>
                      <a:pPr algn="ctr" fontAlgn="ctr"/>
                      <a:r>
                        <a:rPr lang="en-US" sz="1200" b="0" i="0" u="none" strike="noStrike" dirty="0">
                          <a:solidFill>
                            <a:srgbClr val="000000"/>
                          </a:solidFill>
                          <a:latin typeface="Calibri"/>
                        </a:rPr>
                        <a:t>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200" b="1" i="0" u="none" strike="noStrike">
                          <a:solidFill>
                            <a:srgbClr val="000000"/>
                          </a:solidFill>
                          <a:latin typeface="Calibri"/>
                        </a:rPr>
                        <a:t>To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200" b="1" i="0" u="none" strike="noStrike">
                          <a:solidFill>
                            <a:srgbClr val="000000"/>
                          </a:solidFill>
                          <a:latin typeface="Calibri"/>
                        </a:rPr>
                        <a:t>3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200" b="1" i="0" u="none" strike="noStrike">
                          <a:solidFill>
                            <a:srgbClr val="000000"/>
                          </a:solidFill>
                          <a:latin typeface="Calibri"/>
                        </a:rPr>
                        <a:t>1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200" b="1" i="0" u="none" strike="noStrike" dirty="0">
                          <a:solidFill>
                            <a:srgbClr val="000000"/>
                          </a:solidFill>
                          <a:latin typeface="Calibri"/>
                        </a:rPr>
                        <a:t>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US" sz="1200" b="1" i="0" u="none" strike="noStrike" dirty="0">
                          <a:solidFill>
                            <a:srgbClr val="000000"/>
                          </a:solidFill>
                          <a:latin typeface="Calibri"/>
                        </a:rPr>
                        <a:t>86</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r>
            </a:tbl>
          </a:graphicData>
        </a:graphic>
      </p:graphicFrame>
      <p:sp>
        <p:nvSpPr>
          <p:cNvPr id="6" name="TextBox 5"/>
          <p:cNvSpPr txBox="1"/>
          <p:nvPr/>
        </p:nvSpPr>
        <p:spPr>
          <a:xfrm>
            <a:off x="888276" y="3997237"/>
            <a:ext cx="7302577" cy="2246769"/>
          </a:xfrm>
          <a:prstGeom prst="rect">
            <a:avLst/>
          </a:prstGeom>
          <a:noFill/>
        </p:spPr>
        <p:txBody>
          <a:bodyPr wrap="none" rtlCol="0">
            <a:spAutoFit/>
          </a:bodyPr>
          <a:lstStyle/>
          <a:p>
            <a:r>
              <a:rPr lang="en-US" sz="1400" b="1" dirty="0" smtClean="0">
                <a:solidFill>
                  <a:schemeClr val="tx2">
                    <a:lumMod val="50000"/>
                  </a:schemeClr>
                </a:solidFill>
              </a:rPr>
              <a:t>Challenges in Test Automation – </a:t>
            </a:r>
          </a:p>
          <a:p>
            <a:pPr>
              <a:lnSpc>
                <a:spcPct val="150000"/>
              </a:lnSpc>
            </a:pPr>
            <a:r>
              <a:rPr lang="en-US" sz="1200" dirty="0" smtClean="0">
                <a:solidFill>
                  <a:schemeClr val="tx2">
                    <a:lumMod val="50000"/>
                  </a:schemeClr>
                </a:solidFill>
              </a:rPr>
              <a:t>1. Setup </a:t>
            </a:r>
            <a:r>
              <a:rPr lang="en-US" sz="1200" dirty="0" smtClean="0">
                <a:solidFill>
                  <a:schemeClr val="tx2">
                    <a:lumMod val="50000"/>
                  </a:schemeClr>
                </a:solidFill>
              </a:rPr>
              <a:t>of Selenium Automation environment on remote machine (offline mode)</a:t>
            </a:r>
          </a:p>
          <a:p>
            <a:pPr>
              <a:lnSpc>
                <a:spcPct val="150000"/>
              </a:lnSpc>
            </a:pPr>
            <a:r>
              <a:rPr lang="en-US" sz="1200" dirty="0" smtClean="0">
                <a:solidFill>
                  <a:schemeClr val="tx2">
                    <a:lumMod val="50000"/>
                  </a:schemeClr>
                </a:solidFill>
              </a:rPr>
              <a:t>2. Configuration of third party tools (</a:t>
            </a:r>
            <a:r>
              <a:rPr lang="en-US" sz="1200" dirty="0" err="1" smtClean="0">
                <a:solidFill>
                  <a:schemeClr val="tx2">
                    <a:lumMod val="50000"/>
                  </a:schemeClr>
                </a:solidFill>
              </a:rPr>
              <a:t>AutoIt</a:t>
            </a:r>
            <a:r>
              <a:rPr lang="en-US" sz="1200" dirty="0" smtClean="0">
                <a:solidFill>
                  <a:schemeClr val="tx2">
                    <a:lumMod val="50000"/>
                  </a:schemeClr>
                </a:solidFill>
              </a:rPr>
              <a:t> and </a:t>
            </a:r>
            <a:r>
              <a:rPr lang="en-US" sz="1200" dirty="0" err="1" smtClean="0">
                <a:solidFill>
                  <a:schemeClr val="tx2">
                    <a:lumMod val="50000"/>
                  </a:schemeClr>
                </a:solidFill>
              </a:rPr>
              <a:t>Winium</a:t>
            </a:r>
            <a:r>
              <a:rPr lang="en-US" sz="1200" dirty="0" smtClean="0">
                <a:solidFill>
                  <a:schemeClr val="tx2">
                    <a:lumMod val="50000"/>
                  </a:schemeClr>
                </a:solidFill>
              </a:rPr>
              <a:t>) for standalone application</a:t>
            </a:r>
          </a:p>
          <a:p>
            <a:pPr>
              <a:lnSpc>
                <a:spcPct val="150000"/>
              </a:lnSpc>
            </a:pPr>
            <a:r>
              <a:rPr lang="en-US" sz="1200" dirty="0" smtClean="0">
                <a:solidFill>
                  <a:schemeClr val="tx2">
                    <a:lumMod val="50000"/>
                  </a:schemeClr>
                </a:solidFill>
              </a:rPr>
              <a:t>3. Finding possible solution for AUT(Application Under Test) browser compatibility issues across modules</a:t>
            </a:r>
          </a:p>
          <a:p>
            <a:pPr>
              <a:lnSpc>
                <a:spcPct val="150000"/>
              </a:lnSpc>
            </a:pPr>
            <a:r>
              <a:rPr lang="en-US" sz="1200" dirty="0" smtClean="0">
                <a:solidFill>
                  <a:schemeClr val="tx2">
                    <a:lumMod val="50000"/>
                  </a:schemeClr>
                </a:solidFill>
              </a:rPr>
              <a:t>4. Developing Page Object model framework fitting according to the needs of AUT</a:t>
            </a:r>
          </a:p>
          <a:p>
            <a:pPr>
              <a:lnSpc>
                <a:spcPct val="150000"/>
              </a:lnSpc>
            </a:pPr>
            <a:r>
              <a:rPr lang="en-US" sz="1200" dirty="0" smtClean="0">
                <a:solidFill>
                  <a:schemeClr val="tx2">
                    <a:lumMod val="50000"/>
                  </a:schemeClr>
                </a:solidFill>
              </a:rPr>
              <a:t>5. Identification and building reusable functions of AUT</a:t>
            </a:r>
          </a:p>
          <a:p>
            <a:pPr>
              <a:lnSpc>
                <a:spcPct val="150000"/>
              </a:lnSpc>
            </a:pPr>
            <a:r>
              <a:rPr lang="en-US" sz="1200" dirty="0" smtClean="0">
                <a:solidFill>
                  <a:schemeClr val="tx2">
                    <a:lumMod val="50000"/>
                  </a:schemeClr>
                </a:solidFill>
              </a:rPr>
              <a:t>6. Handling various files in remote servers using IO streams /external files</a:t>
            </a:r>
          </a:p>
          <a:p>
            <a:pPr>
              <a:lnSpc>
                <a:spcPct val="150000"/>
              </a:lnSpc>
            </a:pPr>
            <a:r>
              <a:rPr lang="en-US" sz="1200" dirty="0" smtClean="0">
                <a:solidFill>
                  <a:schemeClr val="tx2">
                    <a:lumMod val="50000"/>
                  </a:schemeClr>
                </a:solidFill>
              </a:rPr>
              <a:t>7. Aligning multiple Web and standalone Tests in a Test Suite</a:t>
            </a:r>
            <a:endParaRPr lang="en-US" sz="12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dirty="0" smtClean="0"/>
              <a:t>Short Demo </a:t>
            </a:r>
          </a:p>
          <a:p>
            <a:pPr lvl="1"/>
            <a:r>
              <a:rPr lang="en-US" dirty="0" smtClean="0"/>
              <a:t>Happy path Flow demo</a:t>
            </a:r>
          </a:p>
          <a:p>
            <a:pPr lvl="1"/>
            <a:r>
              <a:rPr lang="en-US" dirty="0" smtClean="0"/>
              <a:t>See the result </a:t>
            </a:r>
          </a:p>
          <a:p>
            <a:pPr lvl="1"/>
            <a:r>
              <a:rPr lang="en-US" dirty="0" smtClean="0"/>
              <a:t>Conclude the test and show reporting </a:t>
            </a:r>
          </a:p>
          <a:p>
            <a:endParaRPr lang="en-US" dirty="0" smtClean="0"/>
          </a:p>
          <a:p>
            <a:r>
              <a:rPr lang="en-US" dirty="0" smtClean="0"/>
              <a:t>Detailed Demo : </a:t>
            </a:r>
          </a:p>
          <a:p>
            <a:pPr lvl="1"/>
            <a:r>
              <a:rPr lang="en-US" dirty="0" smtClean="0"/>
              <a:t>Selenium Web Driver Explanation </a:t>
            </a:r>
          </a:p>
          <a:p>
            <a:pPr lvl="1"/>
            <a:r>
              <a:rPr lang="en-US" dirty="0" smtClean="0"/>
              <a:t>POM Explanation </a:t>
            </a:r>
          </a:p>
          <a:p>
            <a:pPr lvl="1"/>
            <a:r>
              <a:rPr lang="en-US" dirty="0" smtClean="0"/>
              <a:t>Implementation Explanation </a:t>
            </a:r>
          </a:p>
          <a:p>
            <a:endParaRPr lang="en-US" dirty="0" smtClean="0"/>
          </a:p>
          <a:p>
            <a:r>
              <a:rPr lang="en-US" dirty="0" smtClean="0"/>
              <a:t>Question and answer. </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CG PPT Template_2014_1">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80DA2B78C03ED43AE9AFD8CA1115CB3" ma:contentTypeVersion="0" ma:contentTypeDescription="Create a new document." ma:contentTypeScope="" ma:versionID="6c660247c57559cd07cb0c3ef6de006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35057FA-996F-4F36-8401-0093B0FAA431}">
  <ds:schemaRefs>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B51B10D5-114E-47FE-8BD3-655C3CCE53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AE340538-ECEB-4EA9-931F-95760F65D59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G PPT Template_2014_1</Template>
  <TotalTime>35848</TotalTime>
  <Words>947</Words>
  <Application>Microsoft Office PowerPoint</Application>
  <PresentationFormat>A4 Paper (210x297 mm)</PresentationFormat>
  <Paragraphs>267</Paragraphs>
  <Slides>21</Slides>
  <Notes>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25" baseType="lpstr">
      <vt:lpstr>CG PPT Template_2014_1</vt:lpstr>
      <vt:lpstr>Closing slides</vt:lpstr>
      <vt:lpstr>Section break</vt:lpstr>
      <vt:lpstr>think-cell Slide</vt:lpstr>
      <vt:lpstr>Test Automation Solution</vt:lpstr>
      <vt:lpstr>Contents</vt:lpstr>
      <vt:lpstr>Executive Summary</vt:lpstr>
      <vt:lpstr>Automation – PRIME Applications</vt:lpstr>
      <vt:lpstr>Automation Approach</vt:lpstr>
      <vt:lpstr>Automation Tools &amp; Framework </vt:lpstr>
      <vt:lpstr>Automation Plan</vt:lpstr>
      <vt:lpstr>Automation Status Update</vt:lpstr>
      <vt:lpstr>Demo</vt:lpstr>
      <vt:lpstr>Slide 10</vt:lpstr>
      <vt:lpstr>Selenium WebDriver- Package Explorer view</vt:lpstr>
      <vt:lpstr>Selenium WebDriver – Script View </vt:lpstr>
      <vt:lpstr>Selenium WebDriver- Page View </vt:lpstr>
      <vt:lpstr>Automation Screenshot – TestNG suite </vt:lpstr>
      <vt:lpstr>Selenium WebDriver – TestNG report </vt:lpstr>
      <vt:lpstr>Selenium WebDriver – Jenkins dashboard </vt:lpstr>
      <vt:lpstr>Selenium WebDriver – Jenkins TestNG Result</vt:lpstr>
      <vt:lpstr>Project Scope – Test Case wise.</vt:lpstr>
      <vt:lpstr>Automation Strategy </vt:lpstr>
      <vt:lpstr>Thank You</vt:lpstr>
      <vt:lpstr>Slide 2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Capgemini</dc:creator>
  <cp:lastModifiedBy>pkamble</cp:lastModifiedBy>
  <cp:revision>609</cp:revision>
  <dcterms:created xsi:type="dcterms:W3CDTF">2014-03-18T09:45:04Z</dcterms:created>
  <dcterms:modified xsi:type="dcterms:W3CDTF">2017-08-16T14:0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0DA2B78C03ED43AE9AFD8CA1115CB3</vt:lpwstr>
  </property>
</Properties>
</file>